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ommentAuthors.xml" ContentType="application/vnd.openxmlformats-officedocument.presentationml.commentAuthors+xml"/>
  <Override PartName="/ppt/embeddings/oleObject4.wdp" ContentType="image/vnd.ms-photo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ppt/media/hdphoto2.wdp" ContentType="image/vnd.ms-photo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aveSubsetFonts="1">
  <p:sldMasterIdLst>
    <p:sldMasterId id="2147483686" r:id="rId1"/>
    <p:sldMasterId id="2147483687" r:id="rId2"/>
    <p:sldMasterId id="2147483688" r:id="rId3"/>
  </p:sldMasterIdLst>
  <p:notesMasterIdLst>
    <p:notesMasterId r:id="rId4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84" r:id="rId33"/>
  </p:sldIdLst>
  <p:sldSz cx="12192000" cy="6858000"/>
  <p:notesSz cx="6889750" cy="96075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mAuthor id="1" name="it 24slides5" initials="i2" lastIdx="1" clrIdx="0"/>
</p:cmAuthorLst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present/>
    <p:sldAll/>
    <p:penClr>
      <a:prstClr val="red"/>
    </p:penClr>
    <p:extLst>
      <p:ext uri="{2FDB2607-1784-4EEB-B798-7EB5836EED8A}">
        <p14:showMediaCtrls xmlns:p14="http://schemas.microsoft.com/office/powerpoint/2010/main" val="1"/>
      </p:ext>
    </p:extLst>
  </p:showPr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7450" autoAdjust="0"/>
    <p:restoredTop sz="65974" autoAdjust="0"/>
  </p:normalViewPr>
  <p:slideViewPr>
    <p:cSldViewPr snapToGrid="0">
      <p:cViewPr varScale="1">
        <p:scale>
          <a:sx n="100" d="100"/>
          <a:sy n="100" d="100"/>
        </p:scale>
        <p:origin x="-1788" y="-76"/>
      </p:cViewPr>
      <p:guideLst>
        <p:guide orient="horz" pos="2135"/>
        <p:guide orient="horz" pos="4008"/>
        <p:guide orient="horz" pos="311"/>
        <p:guide pos="3840"/>
        <p:guide pos="335"/>
        <p:guide pos="73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461"/>
    </p:cViewPr>
  </p:sorterViewPr>
  <p:gridSpacing cx="76200" cy="76200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6.xml"  /><Relationship Id="rId11" Type="http://schemas.openxmlformats.org/officeDocument/2006/relationships/slide" Target="slides/slide7.xml"  /><Relationship Id="rId12" Type="http://schemas.openxmlformats.org/officeDocument/2006/relationships/slide" Target="slides/slide8.xml"  /><Relationship Id="rId13" Type="http://schemas.openxmlformats.org/officeDocument/2006/relationships/slide" Target="slides/slide9.xml"  /><Relationship Id="rId14" Type="http://schemas.openxmlformats.org/officeDocument/2006/relationships/slide" Target="slides/slide10.xml"  /><Relationship Id="rId15" Type="http://schemas.openxmlformats.org/officeDocument/2006/relationships/slide" Target="slides/slide11.xml"  /><Relationship Id="rId16" Type="http://schemas.openxmlformats.org/officeDocument/2006/relationships/slide" Target="slides/slide12.xml"  /><Relationship Id="rId17" Type="http://schemas.openxmlformats.org/officeDocument/2006/relationships/slide" Target="slides/slide13.xml"  /><Relationship Id="rId18" Type="http://schemas.openxmlformats.org/officeDocument/2006/relationships/slide" Target="slides/slide14.xml"  /><Relationship Id="rId19" Type="http://schemas.openxmlformats.org/officeDocument/2006/relationships/slide" Target="slides/slide15.xml"  /><Relationship Id="rId2" Type="http://schemas.openxmlformats.org/officeDocument/2006/relationships/slideMaster" Target="slideMasters/slideMaster2.xml"  /><Relationship Id="rId20" Type="http://schemas.openxmlformats.org/officeDocument/2006/relationships/slide" Target="slides/slide16.xml"  /><Relationship Id="rId21" Type="http://schemas.openxmlformats.org/officeDocument/2006/relationships/slide" Target="slides/slide17.xml"  /><Relationship Id="rId22" Type="http://schemas.openxmlformats.org/officeDocument/2006/relationships/slide" Target="slides/slide18.xml"  /><Relationship Id="rId23" Type="http://schemas.openxmlformats.org/officeDocument/2006/relationships/slide" Target="slides/slide19.xml"  /><Relationship Id="rId24" Type="http://schemas.openxmlformats.org/officeDocument/2006/relationships/slide" Target="slides/slide20.xml"  /><Relationship Id="rId25" Type="http://schemas.openxmlformats.org/officeDocument/2006/relationships/slide" Target="slides/slide21.xml"  /><Relationship Id="rId26" Type="http://schemas.openxmlformats.org/officeDocument/2006/relationships/slide" Target="slides/slide22.xml"  /><Relationship Id="rId27" Type="http://schemas.openxmlformats.org/officeDocument/2006/relationships/slide" Target="slides/slide23.xml"  /><Relationship Id="rId28" Type="http://schemas.openxmlformats.org/officeDocument/2006/relationships/slide" Target="slides/slide24.xml"  /><Relationship Id="rId29" Type="http://schemas.openxmlformats.org/officeDocument/2006/relationships/slide" Target="slides/slide25.xml"  /><Relationship Id="rId3" Type="http://schemas.openxmlformats.org/officeDocument/2006/relationships/slideMaster" Target="slideMasters/slideMaster3.xml"  /><Relationship Id="rId30" Type="http://schemas.openxmlformats.org/officeDocument/2006/relationships/slide" Target="slides/slide26.xml"  /><Relationship Id="rId31" Type="http://schemas.openxmlformats.org/officeDocument/2006/relationships/slide" Target="slides/slide27.xml"  /><Relationship Id="rId32" Type="http://schemas.openxmlformats.org/officeDocument/2006/relationships/slide" Target="slides/slide28.xml"  /><Relationship Id="rId33" Type="http://schemas.openxmlformats.org/officeDocument/2006/relationships/slide" Target="slides/slide29.xml"  /><Relationship Id="rId34" Type="http://schemas.openxmlformats.org/officeDocument/2006/relationships/commentAuthors" Target="commentAuthors.xml"  /><Relationship Id="rId35" Type="http://schemas.openxmlformats.org/officeDocument/2006/relationships/presProps" Target="presProps.xml"  /><Relationship Id="rId36" Type="http://schemas.openxmlformats.org/officeDocument/2006/relationships/viewProps" Target="viewProps.xml"  /><Relationship Id="rId37" Type="http://schemas.openxmlformats.org/officeDocument/2006/relationships/theme" Target="theme/theme1.xml"  /><Relationship Id="rId38" Type="http://schemas.openxmlformats.org/officeDocument/2006/relationships/tableStyles" Target="tableStyles.xml"  /><Relationship Id="rId4" Type="http://schemas.openxmlformats.org/officeDocument/2006/relationships/notesMaster" Target="notesMasters/notesMaster1.xml"  /><Relationship Id="rId5" Type="http://schemas.openxmlformats.org/officeDocument/2006/relationships/slide" Target="slides/slide1.xml"  /><Relationship Id="rId6" Type="http://schemas.openxmlformats.org/officeDocument/2006/relationships/slide" Target="slides/slide2.xml"  /><Relationship Id="rId7" Type="http://schemas.openxmlformats.org/officeDocument/2006/relationships/slide" Target="slides/slide3.xml"  /><Relationship Id="rId8" Type="http://schemas.openxmlformats.org/officeDocument/2006/relationships/slide" Target="slides/slide4.xml"  /><Relationship Id="rId9" Type="http://schemas.openxmlformats.org/officeDocument/2006/relationships/slide" Target="slides/slide5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drawings/_rels/vmlDrawing3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4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85558" cy="482046"/>
          </a:xfrm>
          <a:prstGeom prst="rect">
            <a:avLst/>
          </a:prstGeom>
        </p:spPr>
        <p:txBody>
          <a:bodyPr vert="horz" lIns="94265" tIns="47133" rIns="94265" bIns="47133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482046"/>
          </a:xfrm>
          <a:prstGeom prst="rect">
            <a:avLst/>
          </a:prstGeom>
        </p:spPr>
        <p:txBody>
          <a:bodyPr vert="horz" lIns="94265" tIns="47133" rIns="94265" bIns="47133"/>
          <a:lstStyle>
            <a:lvl1pPr algn="r">
              <a:defRPr sz="1200"/>
            </a:lvl1pPr>
          </a:lstStyle>
          <a:p>
            <a:pPr lvl="0">
              <a:defRPr/>
            </a:pPr>
            <a:fld id="{FD9B2FA7-D9E1-4131-8BAE-576B74BB9741}" type="datetime1">
              <a:rPr lang="en-ID"/>
              <a:pPr lvl="0">
                <a:defRPr/>
              </a:pPr>
              <a:t>2021-03-1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563563" y="1201738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65" tIns="47133" rIns="94265" bIns="47133" anchor="ctr"/>
          <a:lstStyle/>
          <a:p>
            <a:pPr lvl="0"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623633"/>
            <a:ext cx="5511800" cy="3782973"/>
          </a:xfrm>
          <a:prstGeom prst="rect">
            <a:avLst/>
          </a:prstGeom>
        </p:spPr>
        <p:txBody>
          <a:bodyPr vert="horz" lIns="94265" tIns="47133" rIns="94265" bIns="47133"/>
          <a:lstStyle/>
          <a:p>
            <a:pPr lvl="0">
              <a:defRPr/>
            </a:pPr>
            <a:r>
              <a:rPr lang="en-US"/>
              <a:t>Click to edit Master text styles</a:t>
            </a:r>
            <a:endParaRPr lang="en-US"/>
          </a:p>
          <a:p>
            <a:pPr lvl="1">
              <a:defRPr/>
            </a:pPr>
            <a:r>
              <a:rPr lang="en-US"/>
              <a:t>Second level</a:t>
            </a:r>
            <a:endParaRPr lang="en-US"/>
          </a:p>
          <a:p>
            <a:pPr lvl="2">
              <a:defRPr/>
            </a:pPr>
            <a:r>
              <a:rPr lang="en-US"/>
              <a:t>Third level</a:t>
            </a:r>
            <a:endParaRPr lang="en-US"/>
          </a:p>
          <a:p>
            <a:pPr lvl="3">
              <a:defRPr/>
            </a:pPr>
            <a:r>
              <a:rPr lang="en-US"/>
              <a:t>Fourth level</a:t>
            </a:r>
            <a:endParaRPr lang="en-US"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5506"/>
            <a:ext cx="2985558" cy="482045"/>
          </a:xfrm>
          <a:prstGeom prst="rect">
            <a:avLst/>
          </a:prstGeom>
        </p:spPr>
        <p:txBody>
          <a:bodyPr vert="horz" lIns="94265" tIns="47133" rIns="94265" bIns="47133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125506"/>
            <a:ext cx="2985558" cy="482045"/>
          </a:xfrm>
          <a:prstGeom prst="rect">
            <a:avLst/>
          </a:prstGeom>
        </p:spPr>
        <p:txBody>
          <a:bodyPr vert="horz" lIns="94265" tIns="47133" rIns="94265" bIns="47133" anchor="b"/>
          <a:lstStyle>
            <a:lvl1pPr algn="r">
              <a:defRPr sz="1200"/>
            </a:lvl1pPr>
          </a:lstStyle>
          <a:p>
            <a:pPr lvl="0">
              <a:defRPr/>
            </a:pPr>
            <a:fld id="{8670653B-8FC2-4C8E-B0DB-DC6058263EA5}" type="slidenum">
              <a:rPr lang="en-ID"/>
              <a:pPr lvl="0">
                <a:defRPr/>
              </a:pPr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10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0.xml"  /></Relationships>
</file>

<file path=ppt/notesSlides/_rels/notesSlide11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1.xml"  /></Relationships>
</file>

<file path=ppt/notesSlides/_rels/notesSlide12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2.xml"  /></Relationships>
</file>

<file path=ppt/notesSlides/_rels/notesSlide13.xml.rels><?xml version="1.0" encoding="UTF-8" standalone="yes" ?><Relationships xmlns="http://schemas.openxmlformats.org/package/2006/relationships"><Relationship Id="rId1" Type="http://schemas.openxmlformats.org/officeDocument/2006/relationships/slide" Target="../slides/slide13.xml"  /><Relationship Id="rId2" Type="http://schemas.openxmlformats.org/officeDocument/2006/relationships/notesMaster" Target="../notesMasters/notesMaster1.xml"  /></Relationships>
</file>

<file path=ppt/notesSlides/_rels/notesSlide14.xml.rels><?xml version="1.0" encoding="UTF-8" standalone="yes" ?><Relationships xmlns="http://schemas.openxmlformats.org/package/2006/relationships"><Relationship Id="rId1" Type="http://schemas.openxmlformats.org/officeDocument/2006/relationships/slide" Target="../slides/slide14.xml"  /><Relationship Id="rId2" Type="http://schemas.openxmlformats.org/officeDocument/2006/relationships/notesMaster" Target="../notesMasters/notesMaster1.xml"  /></Relationships>
</file>

<file path=ppt/notesSlides/_rels/notesSlide15.xml.rels><?xml version="1.0" encoding="UTF-8" standalone="yes" ?><Relationships xmlns="http://schemas.openxmlformats.org/package/2006/relationships"><Relationship Id="rId1" Type="http://schemas.openxmlformats.org/officeDocument/2006/relationships/slide" Target="../slides/slide15.xml"  /><Relationship Id="rId2" Type="http://schemas.openxmlformats.org/officeDocument/2006/relationships/notesMaster" Target="../notesMasters/notesMaster1.xml"  /></Relationships>
</file>

<file path=ppt/notesSlides/_rels/notesSlide16.xml.rels><?xml version="1.0" encoding="UTF-8" standalone="yes" ?><Relationships xmlns="http://schemas.openxmlformats.org/package/2006/relationships"><Relationship Id="rId1" Type="http://schemas.openxmlformats.org/officeDocument/2006/relationships/slide" Target="../slides/slide16.xml"  /><Relationship Id="rId2" Type="http://schemas.openxmlformats.org/officeDocument/2006/relationships/notesMaster" Target="../notesMasters/notesMaster1.xml"  /></Relationships>
</file>

<file path=ppt/notesSlides/_rels/notesSlide17.xml.rels><?xml version="1.0" encoding="UTF-8" standalone="yes" ?><Relationships xmlns="http://schemas.openxmlformats.org/package/2006/relationships"><Relationship Id="rId1" Type="http://schemas.openxmlformats.org/officeDocument/2006/relationships/slide" Target="../slides/slide17.xml"  /><Relationship Id="rId2" Type="http://schemas.openxmlformats.org/officeDocument/2006/relationships/notesMaster" Target="../notesMasters/notesMaster1.xml"  /></Relationships>
</file>

<file path=ppt/notesSlides/_rels/notesSlide18.xml.rels><?xml version="1.0" encoding="UTF-8" standalone="yes" ?><Relationships xmlns="http://schemas.openxmlformats.org/package/2006/relationships"><Relationship Id="rId1" Type="http://schemas.openxmlformats.org/officeDocument/2006/relationships/slide" Target="../slides/slide18.xml"  /><Relationship Id="rId2" Type="http://schemas.openxmlformats.org/officeDocument/2006/relationships/notesMaster" Target="../notesMasters/notesMaster1.xml"  /></Relationships>
</file>

<file path=ppt/notesSlides/_rels/notesSlide19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19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20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20.xml"  /></Relationships>
</file>

<file path=ppt/notesSlides/_rels/notesSlide21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21.xml"  /></Relationships>
</file>

<file path=ppt/notesSlides/_rels/notesSlide22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22.xml"  /></Relationships>
</file>

<file path=ppt/notesSlides/_rels/notesSlide23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23.xml"  /></Relationships>
</file>

<file path=ppt/notesSlides/_rels/notesSlide24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24.xml"  /></Relationships>
</file>

<file path=ppt/notesSlides/_rels/notesSlide25.xml.rels><?xml version="1.0" encoding="UTF-8" standalone="yes" ?><Relationships xmlns="http://schemas.openxmlformats.org/package/2006/relationships"><Relationship Id="rId1" Type="http://schemas.openxmlformats.org/officeDocument/2006/relationships/slide" Target="../slides/slide25.xml"  /><Relationship Id="rId2" Type="http://schemas.openxmlformats.org/officeDocument/2006/relationships/notesMaster" Target="../notesMasters/notesMaster1.xml"  /></Relationships>
</file>

<file path=ppt/notesSlides/_rels/notesSlide26.xml.rels><?xml version="1.0" encoding="UTF-8" standalone="yes" ?><Relationships xmlns="http://schemas.openxmlformats.org/package/2006/relationships"><Relationship Id="rId1" Type="http://schemas.openxmlformats.org/officeDocument/2006/relationships/slide" Target="../slides/slide26.xml"  /><Relationship Id="rId2" Type="http://schemas.openxmlformats.org/officeDocument/2006/relationships/notesMaster" Target="../notesMasters/notesMaster1.xml"  /></Relationships>
</file>

<file path=ppt/notesSlides/_rels/notesSlide27.xml.rels><?xml version="1.0" encoding="UTF-8" standalone="yes" ?><Relationships xmlns="http://schemas.openxmlformats.org/package/2006/relationships"><Relationship Id="rId1" Type="http://schemas.openxmlformats.org/officeDocument/2006/relationships/slide" Target="../slides/slide27.xml"  /><Relationship Id="rId2" Type="http://schemas.openxmlformats.org/officeDocument/2006/relationships/notesMaster" Target="../notesMasters/notesMaster1.xml"  /></Relationships>
</file>

<file path=ppt/notesSlides/_rels/notesSlide28.xml.rels><?xml version="1.0" encoding="UTF-8" standalone="yes" ?><Relationships xmlns="http://schemas.openxmlformats.org/package/2006/relationships"><Relationship Id="rId1" Type="http://schemas.openxmlformats.org/officeDocument/2006/relationships/slide" Target="../slides/slide28.xml"  /><Relationship Id="rId2" Type="http://schemas.openxmlformats.org/officeDocument/2006/relationships/notesMaster" Target="../notesMasters/notesMaster1.xml"  /></Relationships>
</file>

<file path=ppt/notesSlides/_rels/notesSlide29.xml.rels><?xml version="1.0" encoding="UTF-8" standalone="yes" ?><Relationships xmlns="http://schemas.openxmlformats.org/package/2006/relationships"><Relationship Id="rId1" Type="http://schemas.openxmlformats.org/officeDocument/2006/relationships/slide" Target="../slides/slide29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3.xml"  /><Relationship Id="rId2" Type="http://schemas.openxmlformats.org/officeDocument/2006/relationships/notesMaster" Target="../notesMasters/notesMaster1.xml"  /></Relationships>
</file>

<file path=ppt/notesSlides/_rels/notesSlide4.xml.rels><?xml version="1.0" encoding="UTF-8" standalone="yes" ?><Relationships xmlns="http://schemas.openxmlformats.org/package/2006/relationships"><Relationship Id="rId1" Type="http://schemas.openxmlformats.org/officeDocument/2006/relationships/slide" Target="../slides/slide4.xml"  /><Relationship Id="rId2" Type="http://schemas.openxmlformats.org/officeDocument/2006/relationships/notesMaster" Target="../notesMasters/notesMaster1.xml"  /></Relationships>
</file>

<file path=ppt/notesSlides/_rels/notesSlide5.xml.rels><?xml version="1.0" encoding="UTF-8" standalone="yes" ?><Relationships xmlns="http://schemas.openxmlformats.org/package/2006/relationships"><Relationship Id="rId1" Type="http://schemas.openxmlformats.org/officeDocument/2006/relationships/slide" Target="../slides/slide5.xml"  /><Relationship Id="rId2" Type="http://schemas.openxmlformats.org/officeDocument/2006/relationships/notesMaster" Target="../notesMasters/notesMaster1.xml"  /></Relationships>
</file>

<file path=ppt/notesSlides/_rels/notesSlide6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6.xml"  /></Relationships>
</file>

<file path=ppt/notesSlides/_rels/notesSlide7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7.xml"  /></Relationships>
</file>

<file path=ppt/notesSlides/_rels/notesSlide8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8.xml"  /></Relationships>
</file>

<file path=ppt/notesSlides/_rels/notesSlide9.xml.rels><?xml version="1.0" encoding="UTF-8" standalone="yes" ?><Relationships xmlns="http://schemas.openxmlformats.org/package/2006/relationships"><Relationship Id="rId1" Type="http://schemas.openxmlformats.org/officeDocument/2006/relationships/notesMaster" Target="../notesMasters/notesMaster1.xml"  /><Relationship Id="rId2" Type="http://schemas.openxmlformats.org/officeDocument/2006/relationships/slide" Target="../slides/slide9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다음으로는 우리의 어플</a:t>
            </a:r>
            <a:r>
              <a:rPr lang="en-US" altLang="ko-KR"/>
              <a:t>, ‘</a:t>
            </a:r>
            <a:r>
              <a:rPr lang="ko-KR" altLang="en-US"/>
              <a:t>조기요</a:t>
            </a:r>
            <a:r>
              <a:rPr lang="en-US" altLang="ko-KR"/>
              <a:t>’</a:t>
            </a:r>
            <a:r>
              <a:rPr lang="ko-KR" altLang="en-US"/>
              <a:t>에 구현한 </a:t>
            </a:r>
            <a:r>
              <a:rPr lang="en-US" altLang="ko-KR"/>
              <a:t>10</a:t>
            </a:r>
            <a:r>
              <a:rPr lang="ko-KR" altLang="en-US"/>
              <a:t>가지 기능들입니다</a:t>
            </a:r>
            <a:r>
              <a:rPr lang="en-US" altLang="ko-KR"/>
              <a:t>. </a:t>
            </a:r>
            <a:endParaRPr lang="en-US" altLang="ko-KR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ko-KR" altLang="en-US"/>
              <a:t>회원가입</a:t>
            </a:r>
            <a:r>
              <a:rPr lang="en-US" altLang="ko-KR"/>
              <a:t>, </a:t>
            </a:r>
            <a:r>
              <a:rPr lang="ko-KR" altLang="en-US"/>
              <a:t>로그인</a:t>
            </a:r>
            <a:r>
              <a:rPr lang="en-US" altLang="ko-KR"/>
              <a:t>, </a:t>
            </a:r>
            <a:r>
              <a:rPr lang="ko-KR" altLang="en-US"/>
              <a:t>마이페이지</a:t>
            </a:r>
            <a:r>
              <a:rPr lang="en-US" altLang="ko-KR"/>
              <a:t>, </a:t>
            </a:r>
            <a:r>
              <a:rPr lang="ko-KR" altLang="en-US"/>
              <a:t>광고</a:t>
            </a:r>
            <a:r>
              <a:rPr lang="en-US" altLang="ko-KR"/>
              <a:t>, </a:t>
            </a:r>
            <a:r>
              <a:rPr lang="ko-KR" altLang="en-US"/>
              <a:t>인기음식 추천</a:t>
            </a:r>
            <a:r>
              <a:rPr lang="en-US" altLang="ko-KR"/>
              <a:t>, </a:t>
            </a:r>
            <a:r>
              <a:rPr lang="ko-KR" altLang="en-US"/>
              <a:t>식당선택 후 장바구니에 메뉴 담기 등등</a:t>
            </a:r>
            <a:r>
              <a:rPr lang="ko-KR" altLang="en-US" baseline="0"/>
              <a:t> 을 </a:t>
            </a:r>
            <a:endParaRPr lang="ko-KR" altLang="en-US" baseline="0"/>
          </a:p>
          <a:p>
            <a:pPr lvl="0">
              <a:defRPr/>
            </a:pPr>
            <a:r>
              <a:rPr lang="ko-KR" altLang="en-US" baseline="0"/>
              <a:t>많은 과정 끝에 구현할 수 있었습니다</a:t>
            </a:r>
            <a:r>
              <a:rPr lang="en-US" altLang="ko-KR" baseline="0"/>
              <a:t>. </a:t>
            </a:r>
            <a:endParaRPr lang="en-US" altLang="ko-KR" baseline="0"/>
          </a:p>
          <a:p>
            <a:pPr lvl="0">
              <a:defRPr/>
            </a:pPr>
            <a:endParaRPr lang="en-US" altLang="ko-KR" baseline="0"/>
          </a:p>
          <a:p>
            <a:pPr lvl="0">
              <a:defRPr/>
            </a:pPr>
            <a:r>
              <a:rPr lang="ko-KR" altLang="en-US" baseline="0"/>
              <a:t>이제</a:t>
            </a:r>
            <a:r>
              <a:rPr lang="en-US" altLang="ko-KR" baseline="0"/>
              <a:t>, </a:t>
            </a:r>
            <a:r>
              <a:rPr lang="ko-KR" altLang="en-US" baseline="0"/>
              <a:t>저희가 만든 기능들을 경험해보실 시간입니다</a:t>
            </a:r>
            <a:r>
              <a:rPr lang="en-US" altLang="ko-KR" baseline="0"/>
              <a:t>! </a:t>
            </a:r>
            <a:endParaRPr lang="en-US" altLang="ko-KR" baseline="0"/>
          </a:p>
          <a:p>
            <a:pPr lvl="0">
              <a:defRPr/>
            </a:pPr>
            <a:endParaRPr lang="en-US" altLang="ko-KR" baseline="0"/>
          </a:p>
          <a:p>
            <a:pPr lvl="0">
              <a:defRPr/>
            </a:pPr>
            <a:r>
              <a:rPr lang="en-US" altLang="ko-KR" baseline="0"/>
              <a:t>----------------------------------</a:t>
            </a:r>
            <a:endParaRPr lang="en-US" altLang="ko-KR" baseline="0"/>
          </a:p>
          <a:p>
            <a:pPr lvl="0">
              <a:defRPr/>
            </a:pPr>
            <a:r>
              <a:rPr lang="ko-KR" altLang="en-US" baseline="0"/>
              <a:t>이제</a:t>
            </a:r>
            <a:r>
              <a:rPr lang="en-US" altLang="ko-KR" baseline="0"/>
              <a:t>, </a:t>
            </a:r>
            <a:r>
              <a:rPr lang="ko-KR" altLang="en-US" baseline="0"/>
              <a:t>저희 조원들이 나와서 코드 설명을 해드릴텐데요</a:t>
            </a:r>
            <a:r>
              <a:rPr lang="en-US" altLang="ko-KR" baseline="0"/>
              <a:t>,</a:t>
            </a:r>
            <a:endParaRPr lang="en-US" altLang="ko-KR" baseline="0"/>
          </a:p>
          <a:p>
            <a:pPr lvl="0">
              <a:defRPr/>
            </a:pPr>
            <a:r>
              <a:rPr lang="ko-KR" altLang="en-US" baseline="0"/>
              <a:t>처음은</a:t>
            </a:r>
            <a:r>
              <a:rPr lang="en-US" altLang="ko-KR" baseline="0"/>
              <a:t>, </a:t>
            </a:r>
            <a:r>
              <a:rPr lang="ko-KR" altLang="en-US" baseline="0"/>
              <a:t>저희 조의 </a:t>
            </a:r>
            <a:r>
              <a:rPr lang="en-US" altLang="ko-KR" baseline="0"/>
              <a:t>ppt </a:t>
            </a:r>
            <a:r>
              <a:rPr lang="ko-KR" altLang="en-US" baseline="0"/>
              <a:t>여왕</a:t>
            </a:r>
            <a:r>
              <a:rPr lang="en-US" altLang="ko-KR" baseline="0"/>
              <a:t>! </a:t>
            </a:r>
            <a:r>
              <a:rPr lang="ko-KR" altLang="en-US" baseline="0"/>
              <a:t>빠른 손과 따뜻한 마음을 가진 현아님이 나오셔서 설명해주시겠습니다</a:t>
            </a:r>
            <a:r>
              <a:rPr lang="en-US" altLang="ko-KR" baseline="0"/>
              <a:t>. </a:t>
            </a:r>
            <a:endParaRPr lang="en-US" altLang="ko-KR" baseline="0"/>
          </a:p>
          <a:p>
            <a:pPr lvl="0">
              <a:defRPr/>
            </a:pPr>
            <a:r>
              <a:rPr lang="ko-KR" altLang="en-US" baseline="0"/>
              <a:t>다같이 박수로 맞이해주세욤</a:t>
            </a:r>
            <a:r>
              <a:rPr lang="en-US" altLang="ko-KR" baseline="0"/>
              <a:t>!!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로그인을</a:t>
            </a:r>
            <a:r>
              <a:rPr lang="ko-KR" altLang="en-US" dirty="0"/>
              <a:t> 성공한 후 로그인 한 아이디의 정보만을 </a:t>
            </a:r>
            <a:r>
              <a:rPr lang="en-US" altLang="ko-KR" dirty="0"/>
              <a:t>get</a:t>
            </a:r>
            <a:r>
              <a:rPr lang="ko-KR" altLang="en-US" dirty="0" err="1"/>
              <a:t>메소드를</a:t>
            </a:r>
            <a:r>
              <a:rPr lang="ko-KR" altLang="en-US" dirty="0"/>
              <a:t> 통해 볼 수 있도록 했습니다 </a:t>
            </a:r>
            <a:r>
              <a:rPr lang="en-US" altLang="ko-KR" dirty="0"/>
              <a:t>.</a:t>
            </a:r>
            <a:r>
              <a:rPr lang="en-US" altLang="ko-KR" baseline="0" dirty="0"/>
              <a:t> </a:t>
            </a:r>
          </a:p>
          <a:p>
            <a:endParaRPr lang="en-US" altLang="ko-KR" dirty="0"/>
          </a:p>
          <a:p>
            <a:r>
              <a:rPr lang="ko-KR" altLang="en-US" dirty="0"/>
              <a:t>그리고</a:t>
            </a:r>
            <a:r>
              <a:rPr lang="en-US" altLang="ko-KR" dirty="0"/>
              <a:t>, </a:t>
            </a:r>
            <a:r>
              <a:rPr lang="ko-KR" altLang="en-US" dirty="0"/>
              <a:t>지난</a:t>
            </a:r>
            <a:r>
              <a:rPr lang="en-US" altLang="ko-KR" dirty="0"/>
              <a:t> </a:t>
            </a:r>
            <a:r>
              <a:rPr lang="ko-KR" altLang="en-US" dirty="0"/>
              <a:t>주문내역까지 볼 수 있도록 이어주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다음으로는 우리 팀의 다정과 똑똑함을 겸비한 </a:t>
            </a:r>
            <a:r>
              <a:rPr lang="ko-KR" altLang="en-US" dirty="0" err="1"/>
              <a:t>율짱</a:t>
            </a:r>
            <a:r>
              <a:rPr lang="en-US" altLang="ko-KR" dirty="0"/>
              <a:t>, </a:t>
            </a:r>
            <a:r>
              <a:rPr lang="ko-KR" altLang="en-US" dirty="0"/>
              <a:t>은지님이 나오셔서 발표해주시겠습니다</a:t>
            </a:r>
            <a:r>
              <a:rPr lang="en-US" altLang="ko-KR" dirty="0"/>
              <a:t>!</a:t>
            </a:r>
            <a:r>
              <a:rPr lang="en-US" altLang="ko-KR" baseline="0" dirty="0"/>
              <a:t> </a:t>
            </a:r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23334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카테고리 부분 코드를 설명해드리겠습니다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먼저 오른쪽에 보이시는 </a:t>
            </a:r>
            <a:r>
              <a:rPr lang="ko-KR" altLang="en-US" dirty="0" err="1" smtClean="0"/>
              <a:t>카테고리창</a:t>
            </a:r>
            <a:r>
              <a:rPr lang="ko-KR" altLang="en-US" baseline="0" dirty="0" smtClean="0"/>
              <a:t> 상단에 들어가는 광고는 랜덤함수를 통해서 만들었습니다</a:t>
            </a:r>
            <a:endParaRPr lang="en-US" altLang="ko-KR" baseline="0" dirty="0" smtClean="0"/>
          </a:p>
          <a:p>
            <a:r>
              <a:rPr lang="ko-KR" altLang="en-US" baseline="0" dirty="0" smtClean="0"/>
              <a:t>랜덤함수로 설정된 숫자가 </a:t>
            </a:r>
            <a:r>
              <a:rPr lang="ko-KR" altLang="en-US" baseline="0" dirty="0" err="1" smtClean="0"/>
              <a:t>뷰단으로</a:t>
            </a:r>
            <a:r>
              <a:rPr lang="ko-KR" altLang="en-US" baseline="0" dirty="0" smtClean="0"/>
              <a:t> 넘어가서 그 숫자에 맞는 광고가 출력되게 됩니다</a:t>
            </a:r>
            <a:endParaRPr lang="en-US" altLang="ko-KR" baseline="0" dirty="0" smtClean="0"/>
          </a:p>
          <a:p>
            <a:r>
              <a:rPr lang="ko-KR" altLang="en-US" baseline="0" dirty="0" smtClean="0"/>
              <a:t>그 아래코드를 보시면 사용자가 음식종류 카테고리를 선택하고 그에 대응하는 문자열이 전역변수 카테고리에 대입되게 됩니다</a:t>
            </a:r>
            <a:r>
              <a:rPr lang="en-US" altLang="ko-KR" baseline="0" dirty="0" smtClean="0"/>
              <a:t>.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그 </a:t>
            </a:r>
            <a:r>
              <a:rPr lang="ko-KR" altLang="en-US" dirty="0" err="1" smtClean="0"/>
              <a:t>입력받은</a:t>
            </a:r>
            <a:r>
              <a:rPr lang="ko-KR" altLang="en-US" dirty="0" smtClean="0"/>
              <a:t> 카테고리를 가지고 우선</a:t>
            </a:r>
            <a:r>
              <a:rPr lang="en-US" altLang="ko-KR" dirty="0" smtClean="0"/>
              <a:t>DAO</a:t>
            </a:r>
            <a:r>
              <a:rPr lang="ko-KR" altLang="en-US" dirty="0" smtClean="0"/>
              <a:t>의  </a:t>
            </a:r>
            <a:r>
              <a:rPr lang="en-US" altLang="ko-KR" dirty="0" smtClean="0"/>
              <a:t>RESTLIST</a:t>
            </a:r>
            <a:r>
              <a:rPr lang="ko-KR" altLang="en-US" dirty="0" smtClean="0"/>
              <a:t>라는 </a:t>
            </a:r>
            <a:r>
              <a:rPr lang="ko-KR" altLang="en-US" dirty="0" err="1" smtClean="0"/>
              <a:t>메소드를</a:t>
            </a:r>
            <a:r>
              <a:rPr lang="ko-KR" altLang="en-US" dirty="0" smtClean="0"/>
              <a:t> 호출하게 됩니다</a:t>
            </a:r>
            <a:r>
              <a:rPr lang="en-US" altLang="ko-KR" dirty="0" smtClean="0"/>
              <a:t>.</a:t>
            </a:r>
          </a:p>
          <a:p>
            <a:r>
              <a:rPr lang="ko-KR" altLang="en-US" baseline="0" dirty="0" smtClean="0"/>
              <a:t>여기서 </a:t>
            </a:r>
            <a:r>
              <a:rPr lang="ko-KR" altLang="en-US" baseline="0" dirty="0" err="1" smtClean="0"/>
              <a:t>셀렉트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쿼리문에</a:t>
            </a:r>
            <a:r>
              <a:rPr lang="ko-KR" altLang="en-US" baseline="0" dirty="0" smtClean="0"/>
              <a:t> 카테고리를 대입해줘서 사용자가 선택한 카테고리의 식당리스트와 정보를 호출하게 됩니다 </a:t>
            </a:r>
            <a:endParaRPr lang="en-US" altLang="ko-KR" baseline="0" dirty="0" smtClean="0"/>
          </a:p>
          <a:p>
            <a:r>
              <a:rPr lang="ko-KR" altLang="en-US" baseline="0" dirty="0" smtClean="0"/>
              <a:t>그걸 다시 </a:t>
            </a:r>
            <a:r>
              <a:rPr lang="en-US" altLang="ko-KR" baseline="0" dirty="0" smtClean="0"/>
              <a:t>INFOCATE</a:t>
            </a:r>
            <a:r>
              <a:rPr lang="ko-KR" altLang="en-US" baseline="0" dirty="0" smtClean="0"/>
              <a:t>라는 배열에 받아오고 다시 </a:t>
            </a:r>
            <a:r>
              <a:rPr lang="ko-KR" altLang="en-US" baseline="0" dirty="0" err="1" smtClean="0"/>
              <a:t>뷰단으로</a:t>
            </a:r>
            <a:r>
              <a:rPr lang="ko-KR" altLang="en-US" baseline="0" dirty="0" smtClean="0"/>
              <a:t> 보내서 출력해줍니다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en-US" altLang="ko-KR" baseline="0" dirty="0" smtClean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1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ko-KR" altLang="en-US">
                <a:solidFill>
                  <a:srgbClr val="84e0c8"/>
                </a:solidFill>
                <a:sym typeface="Calibri"/>
              </a:rPr>
              <a:t>그 다음 식당을 사용자가 선택하면 </a:t>
            </a:r>
            <a:r>
              <a:rPr lang="en-US" altLang="ko-KR">
                <a:solidFill>
                  <a:srgbClr val="84e0c8"/>
                </a:solidFill>
                <a:sym typeface="Calibri"/>
              </a:rPr>
              <a:t>dao</a:t>
            </a:r>
            <a:r>
              <a:rPr lang="ko-KR" altLang="en-US">
                <a:solidFill>
                  <a:srgbClr val="84e0c8"/>
                </a:solidFill>
                <a:sym typeface="Calibri"/>
              </a:rPr>
              <a:t>의 </a:t>
            </a:r>
            <a:r>
              <a:rPr lang="en-US" altLang="ko-KR">
                <a:solidFill>
                  <a:srgbClr val="84e0c8"/>
                </a:solidFill>
                <a:sym typeface="Calibri"/>
              </a:rPr>
              <a:t>RESTINFO</a:t>
            </a:r>
            <a:r>
              <a:rPr lang="ko-KR" altLang="en-US">
                <a:solidFill>
                  <a:srgbClr val="84e0c8"/>
                </a:solidFill>
                <a:sym typeface="Calibri"/>
              </a:rPr>
              <a:t>에서 선택된 식당의정보를 받아오게 됩니다 </a:t>
            </a:r>
            <a:endParaRPr lang="ko-KR" altLang="en-US">
              <a:solidFill>
                <a:srgbClr val="84e0c8"/>
              </a:solidFill>
              <a:sym typeface="Calibri"/>
            </a:endParaRPr>
          </a:p>
          <a:p>
            <a:pPr defTabSz="942655">
              <a:defRPr/>
            </a:pPr>
            <a:r>
              <a:rPr lang="ko-KR" altLang="en-US">
                <a:solidFill>
                  <a:srgbClr val="84e0c8"/>
                </a:solidFill>
                <a:sym typeface="Calibri"/>
              </a:rPr>
              <a:t>받아온 식당의 정보를 </a:t>
            </a:r>
            <a:r>
              <a:rPr lang="en-US" altLang="ko-KR">
                <a:solidFill>
                  <a:srgbClr val="84e0c8"/>
                </a:solidFill>
                <a:sym typeface="Calibri"/>
              </a:rPr>
              <a:t>infoRest</a:t>
            </a:r>
            <a:r>
              <a:rPr lang="ko-KR" altLang="en-US">
                <a:solidFill>
                  <a:srgbClr val="84e0c8"/>
                </a:solidFill>
                <a:sym typeface="Calibri"/>
              </a:rPr>
              <a:t>라는 배열에 넣어주고 뷰를 통해서 사용자가 확인할 수 있게 출력해줍니다</a:t>
            </a:r>
            <a:endParaRPr lang="ko-KR" altLang="en-US">
              <a:solidFill>
                <a:srgbClr val="84e0c8"/>
              </a:solidFill>
              <a:sym typeface="Calibri"/>
            </a:endParaRPr>
          </a:p>
          <a:p>
            <a:pPr defTabSz="942655">
              <a:defRPr/>
            </a:pPr>
            <a:r>
              <a:rPr lang="ko-KR" altLang="en-US">
                <a:solidFill>
                  <a:srgbClr val="84e0c8"/>
                </a:solidFill>
                <a:sym typeface="Calibri"/>
              </a:rPr>
              <a:t>오른쪽을 보시면 식당이름 최소주문금액 주소 전화번호와 메뉴가 출력된걸 보실 수 있습니다 </a:t>
            </a:r>
            <a:endParaRPr lang="ko-KR" altLang="en-US">
              <a:solidFill>
                <a:srgbClr val="84e0c8"/>
              </a:solidFill>
              <a:sym typeface="Calibri"/>
            </a:endParaRPr>
          </a:p>
          <a:p>
            <a:pPr defTabSz="942655">
              <a:defRPr/>
            </a:pPr>
            <a:endParaRPr lang="en-US">
              <a:solidFill>
                <a:srgbClr val="84e0c8"/>
              </a:solidFill>
              <a:sym typeface="Calibri"/>
            </a:endParaRPr>
          </a:p>
          <a:p>
            <a:pPr defTabSz="942655">
              <a:defRPr/>
            </a:pPr>
            <a:r>
              <a:rPr lang="ko-KR" altLang="en-US">
                <a:solidFill>
                  <a:srgbClr val="84e0c8"/>
                </a:solidFill>
                <a:sym typeface="Calibri"/>
              </a:rPr>
              <a:t>그리고 바스켓과 </a:t>
            </a:r>
            <a:r>
              <a:rPr lang="en-US" altLang="ko-KR">
                <a:solidFill>
                  <a:srgbClr val="84e0c8"/>
                </a:solidFill>
                <a:sym typeface="Calibri"/>
              </a:rPr>
              <a:t>samefood</a:t>
            </a:r>
            <a:r>
              <a:rPr lang="ko-KR" altLang="en-US">
                <a:solidFill>
                  <a:srgbClr val="84e0c8"/>
                </a:solidFill>
                <a:sym typeface="Calibri"/>
              </a:rPr>
              <a:t>라는 배열을 만들어서 각각 사용자가 고른 메뉴의 정보와 개수를 받을 수 있게 해주었습니다 </a:t>
            </a:r>
            <a:endParaRPr lang="ko-KR" altLang="en-US">
              <a:solidFill>
                <a:srgbClr val="84e0c8"/>
              </a:solidFill>
              <a:sym typeface="Calibri"/>
            </a:endParaRPr>
          </a:p>
          <a:p>
            <a:pPr defTabSz="942655">
              <a:defRPr/>
            </a:pPr>
            <a:r>
              <a:rPr lang="en-US">
                <a:solidFill>
                  <a:srgbClr val="84e0c8"/>
                </a:solidFill>
                <a:sym typeface="Calibri"/>
              </a:rPr>
              <a:t>Clear</a:t>
            </a:r>
            <a:r>
              <a:rPr lang="ko-KR" altLang="en-US">
                <a:solidFill>
                  <a:srgbClr val="84e0c8"/>
                </a:solidFill>
                <a:sym typeface="Calibri"/>
              </a:rPr>
              <a:t>라는 메소드를 사용해주ㅓ서 사용자가 뒤로갔을때에 장바구니를 초기화 할 수 있게 해주었습니다 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두배열을 자세히 설명해드리겠습니다 </a:t>
            </a:r>
            <a:r>
              <a:rPr lang="en-US" altLang="ko-KR"/>
              <a:t>. </a:t>
            </a:r>
            <a:r>
              <a:rPr lang="ko-KR" altLang="en-US"/>
              <a:t>바스켓배열에 </a:t>
            </a:r>
            <a:r>
              <a:rPr lang="en-US" altLang="ko-KR"/>
              <a:t>Arraylist</a:t>
            </a:r>
            <a:r>
              <a:rPr lang="ko-KR" altLang="en-US"/>
              <a:t>로 구성되서 사용자가 고른 메뉴의 </a:t>
            </a:r>
            <a:r>
              <a:rPr lang="en-US" altLang="ko-KR"/>
              <a:t>(</a:t>
            </a:r>
            <a:r>
              <a:rPr lang="ko-KR" altLang="en-US"/>
              <a:t>메뉴이름</a:t>
            </a:r>
            <a:r>
              <a:rPr lang="en-US" altLang="ko-KR"/>
              <a:t>, </a:t>
            </a:r>
            <a:r>
              <a:rPr lang="ko-KR" altLang="en-US"/>
              <a:t>단가</a:t>
            </a:r>
            <a:r>
              <a:rPr lang="en-US" altLang="ko-KR"/>
              <a:t>, </a:t>
            </a:r>
            <a:r>
              <a:rPr lang="ko-KR" altLang="en-US"/>
              <a:t>식당이름 등의  </a:t>
            </a:r>
            <a:r>
              <a:rPr lang="en-US" altLang="ko-KR"/>
              <a:t>)</a:t>
            </a:r>
            <a:r>
              <a:rPr lang="ko-KR" altLang="en-US"/>
              <a:t>총정보를 </a:t>
            </a:r>
            <a:r>
              <a:rPr lang="en-US" altLang="ko-KR"/>
              <a:t>infoRest</a:t>
            </a:r>
            <a:r>
              <a:rPr lang="ko-KR" altLang="en-US"/>
              <a:t>배열에서 받아와서 차곡차곡 쌓이게 됩니다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그리고 </a:t>
            </a:r>
            <a:r>
              <a:rPr lang="en-US" altLang="ko-KR"/>
              <a:t>sameFood</a:t>
            </a:r>
            <a:r>
              <a:rPr lang="ko-KR" altLang="en-US"/>
              <a:t>배열은 </a:t>
            </a:r>
            <a:r>
              <a:rPr lang="en-US" altLang="ko-KR"/>
              <a:t>hashMap</a:t>
            </a:r>
            <a:r>
              <a:rPr lang="ko-KR" altLang="en-US"/>
              <a:t>으로 구성되있어서 바스켓에 메뉴가 쌓이면 그 인덱스와 일치하는 키값에 </a:t>
            </a:r>
            <a:r>
              <a:rPr lang="en-US" altLang="ko-KR"/>
              <a:t>value</a:t>
            </a:r>
            <a:r>
              <a:rPr lang="ko-KR" altLang="en-US"/>
              <a:t>값으로 메뉴의 개수가 들어가게 됩니다</a:t>
            </a:r>
            <a:endParaRPr lang="ko-KR" altLang="en-US"/>
          </a:p>
          <a:p>
            <a:pPr lvl="0">
              <a:defRPr/>
            </a:pPr>
            <a:endParaRPr lang="en-US"/>
          </a:p>
          <a:p>
            <a:pPr lvl="0">
              <a:defRPr/>
            </a:pPr>
            <a:r>
              <a:rPr lang="ko-KR" altLang="en-US"/>
              <a:t>그리고 </a:t>
            </a:r>
            <a:r>
              <a:rPr lang="en-US" altLang="ko-KR"/>
              <a:t>cnt</a:t>
            </a:r>
            <a:r>
              <a:rPr lang="ko-KR" altLang="en-US"/>
              <a:t>변수를 통해서 처음 입력되는 메뉴는 무조건 바스켓에 입력되게해주었고 그다음부터는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조건문과 반복문을 통해서 바스켓에 입력되어있는 메뉴의 이름과동일한 이름의 메뉴가 골라진다면  그 바스켓 배열의 인덱스와 일치하는 </a:t>
            </a:r>
            <a:r>
              <a:rPr lang="en-US" altLang="ko-KR"/>
              <a:t>sameFood</a:t>
            </a:r>
            <a:r>
              <a:rPr lang="ko-KR" altLang="en-US"/>
              <a:t>의 밸류값의 수만 올라가게 해주었습니다</a:t>
            </a:r>
            <a:endParaRPr lang="ko-KR" altLang="en-US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ko-KR" altLang="en-US"/>
              <a:t>그리고 선택한 메뉴의 개수와 메뉴를 출력해주었고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만약 최소주문금액보다 부족하다면 최소주문금액을 넘어야 결제가 된다는 내용을 추가해주었습니다 </a:t>
            </a:r>
            <a:endParaRPr lang="ko-KR" altLang="en-US"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그리고 장바구니로넘어오게 되면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시킨메뉴의 이름과 갯수들이 출력되게 됩니다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여기서 이제 로그인한 유저의 아이디를통해서 </a:t>
            </a:r>
            <a:r>
              <a:rPr lang="en-US" altLang="ko-KR"/>
              <a:t>Dao</a:t>
            </a:r>
            <a:r>
              <a:rPr lang="ko-KR" altLang="en-US"/>
              <a:t>의 </a:t>
            </a:r>
            <a:r>
              <a:rPr lang="en-US" altLang="ko-KR"/>
              <a:t>loguserinFO</a:t>
            </a:r>
            <a:r>
              <a:rPr lang="ko-KR" altLang="en-US"/>
              <a:t>에 넘겨준다음 사용자의 정보를 미리 받아와줍니다 </a:t>
            </a: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그리고 결제하기 창으로 넘어가면 배달될 주소와 연락받을 연락처를 출력하게 됩니다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또 총결제금액과 배달팁도 다시한번 확인할 수 있습니다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여기서 스위치문을 통해서 결제수단을 선택하고 결제하기를 누르면 결제진행창으로 넘어갑니다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결제 진행창으로 넘어가게되면 다시 </a:t>
            </a:r>
            <a:r>
              <a:rPr lang="en-US" altLang="ko-KR"/>
              <a:t>Dao</a:t>
            </a:r>
            <a:r>
              <a:rPr lang="ko-KR" altLang="en-US"/>
              <a:t>를 호출해서 마지막 주문번호를 받아온다음에 그다음 번호를 새로운 주문의 주문번호로 사용하게되고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주문번호</a:t>
            </a:r>
            <a:r>
              <a:rPr lang="en-US" altLang="ko-KR"/>
              <a:t>, </a:t>
            </a:r>
            <a:r>
              <a:rPr lang="ko-KR" altLang="en-US"/>
              <a:t>사용자아이디</a:t>
            </a:r>
            <a:r>
              <a:rPr lang="en-US" altLang="ko-KR"/>
              <a:t>, </a:t>
            </a:r>
            <a:r>
              <a:rPr lang="ko-KR" altLang="en-US"/>
              <a:t>식당번호</a:t>
            </a:r>
            <a:r>
              <a:rPr lang="en-US" altLang="ko-KR"/>
              <a:t>, </a:t>
            </a:r>
            <a:r>
              <a:rPr lang="ko-KR" altLang="en-US"/>
              <a:t>총금액을 데이터베이스의 </a:t>
            </a:r>
            <a:r>
              <a:rPr lang="en-US" altLang="ko-KR"/>
              <a:t>ORDERS</a:t>
            </a:r>
            <a:r>
              <a:rPr lang="ko-KR" altLang="en-US"/>
              <a:t>테이블로 넘겨주고 </a:t>
            </a:r>
            <a:endParaRPr lang="ko-KR" altLang="en-US"/>
          </a:p>
          <a:p>
            <a:pPr lvl="0">
              <a:defRPr/>
            </a:pPr>
            <a:r>
              <a:rPr lang="ko-KR" altLang="en-US"/>
              <a:t>상세주문정보인 주문번호 음식번호 음식명등은 </a:t>
            </a:r>
            <a:r>
              <a:rPr lang="en-US" altLang="ko-KR"/>
              <a:t>ORDERSDETAIL</a:t>
            </a:r>
            <a:r>
              <a:rPr lang="ko-KR" altLang="en-US"/>
              <a:t>로 넘겨줬습니다 </a:t>
            </a:r>
            <a:endParaRPr lang="ko-KR" altLang="en-US"/>
          </a:p>
          <a:p>
            <a:pPr lvl="0">
              <a:defRPr/>
            </a:pP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ko-KR" altLang="en-US"/>
              <a:t>다음으로는 우리</a:t>
            </a:r>
            <a:r>
              <a:rPr lang="ko-KR" altLang="en-US" baseline="0"/>
              <a:t> 팀에서 상우 천재로 불린</a:t>
            </a:r>
            <a:r>
              <a:rPr lang="en-US" altLang="ko-KR" baseline="0"/>
              <a:t>, </a:t>
            </a:r>
            <a:r>
              <a:rPr lang="ko-KR" altLang="en-US" baseline="0"/>
              <a:t>침착함과 집중력 </a:t>
            </a:r>
            <a:r>
              <a:rPr lang="en-US" altLang="ko-KR" baseline="0"/>
              <a:t>1</a:t>
            </a:r>
            <a:r>
              <a:rPr lang="ko-KR" altLang="en-US" baseline="0"/>
              <a:t>등 상우님이 나오셔서 발표해주시겠습니다</a:t>
            </a:r>
            <a:r>
              <a:rPr lang="en-US" altLang="ko-KR" baseline="0"/>
              <a:t>. </a:t>
            </a:r>
            <a:endParaRPr lang="en-ID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저희는 처음</a:t>
            </a:r>
            <a:r>
              <a:rPr lang="en-US" altLang="ko-KR"/>
              <a:t>, </a:t>
            </a:r>
            <a:r>
              <a:rPr lang="ko-KR" altLang="en-US"/>
              <a:t>마음껏 배달 어플에 대한 아이디어를 꺼내보았고</a:t>
            </a:r>
            <a:r>
              <a:rPr lang="en-US" altLang="ko-KR"/>
              <a:t>, </a:t>
            </a:r>
            <a:r>
              <a:rPr lang="ko-KR" altLang="en-US"/>
              <a:t>그 결과물들로 모델링 과정을 거쳤습니다</a:t>
            </a:r>
            <a:r>
              <a:rPr lang="en-US" altLang="ko-KR"/>
              <a:t>.</a:t>
            </a:r>
            <a:endParaRPr lang="en-US" altLang="ko-KR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en-US" altLang="ko-KR"/>
              <a:t>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655">
              <a:defRPr/>
            </a:pPr>
            <a:fld id="{57446D3C-7248-4466-83D3-3CA300DE77F3}" type="slidenum">
              <a:rPr lang="en-US">
                <a:solidFill>
                  <a:prstClr val="black"/>
                </a:solidFill>
                <a:latin typeface="Calibri"/>
              </a:rPr>
              <a:pPr defTabSz="942655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 dirty="0">
                <a:solidFill>
                  <a:srgbClr val="84E0C8"/>
                </a:solidFill>
                <a:sym typeface="Calibri" panose="020F0502020204030204" pitchFamily="34" charset="0"/>
              </a:rPr>
              <a:t>https://www.freepik.com/free-photo/front-view-delivery-man-with-mask-globes_8973138.htm#page=8&amp;query=transport+services&amp;position=2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2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2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>
                <a:solidFill>
                  <a:srgbClr val="84e0c8"/>
                </a:solidFill>
                <a:sym typeface="Calibri"/>
              </a:rPr>
              <a:t>https://www.freepik.com/free-photo/front-view-delivery-man-with-mask-globes_8973138.htm#page=8&amp;query=transport+services&amp;position=2</a:t>
            </a:r>
            <a:endParaRPr lang="en-US">
              <a:solidFill>
                <a:srgbClr val="84e0c8"/>
              </a:solidFill>
              <a:sym typeface="Calibri"/>
            </a:endParaRPr>
          </a:p>
          <a:p>
            <a:pPr lvl="0">
              <a:defRPr/>
            </a:pP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655">
              <a:defRPr/>
            </a:pPr>
            <a:r>
              <a:rPr lang="en-US">
                <a:solidFill>
                  <a:srgbClr val="84e0c8"/>
                </a:solidFill>
                <a:sym typeface="Calibri"/>
              </a:rPr>
              <a:t>https://www.freepik.com/free-photo/front-view-delivery-man-with-mask-globes_8973138.htm#page=8&amp;query=transport+services&amp;position=2</a:t>
            </a:r>
            <a:endParaRPr lang="en-US">
              <a:solidFill>
                <a:srgbClr val="84e0c8"/>
              </a:solidFill>
              <a:sym typeface="Calibri"/>
            </a:endParaRPr>
          </a:p>
          <a:p>
            <a:pPr lvl="0">
              <a:defRPr/>
            </a:pPr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이제는 마지막 순서로</a:t>
            </a:r>
            <a:r>
              <a:rPr lang="en-US" altLang="ko-KR"/>
              <a:t>, </a:t>
            </a:r>
            <a:r>
              <a:rPr lang="ko-KR" altLang="en-US"/>
              <a:t>열흘 간의 대장정을 마치며 프로젝트에</a:t>
            </a:r>
            <a:r>
              <a:rPr lang="ko-KR" altLang="en-US" baseline="0"/>
              <a:t> 대한 소감을 발표하겠습니다</a:t>
            </a:r>
            <a:r>
              <a:rPr lang="en-US" altLang="ko-KR" baseline="0"/>
              <a:t>. 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 altLang="ko-KR"/>
              <a:t>4</a:t>
            </a:r>
            <a:r>
              <a:rPr lang="ko-KR" altLang="en-US"/>
              <a:t>조의 발표였습니다</a:t>
            </a:r>
            <a:r>
              <a:rPr lang="en-US" altLang="ko-KR" baseline="0"/>
              <a:t>! </a:t>
            </a:r>
            <a:r>
              <a:rPr lang="ko-KR" altLang="en-US" baseline="0"/>
              <a:t>감사합니당</a:t>
            </a:r>
            <a:r>
              <a:rPr lang="en-US" altLang="ko-KR" baseline="0"/>
              <a:t>! 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8670653B-8FC2-4C8E-B0DB-DC6058263EA5}" type="slidenum">
              <a:rPr lang="en-US"/>
              <a:pPr lvl="0">
                <a:defRPr/>
              </a:pPr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저희는 처음</a:t>
            </a:r>
            <a:r>
              <a:rPr lang="en-US" altLang="ko-KR"/>
              <a:t>, </a:t>
            </a:r>
            <a:r>
              <a:rPr lang="ko-KR" altLang="en-US"/>
              <a:t>마음껏 배달 어플에 대한 아이디어를 꺼내보았고</a:t>
            </a:r>
            <a:r>
              <a:rPr lang="en-US" altLang="ko-KR"/>
              <a:t>, </a:t>
            </a:r>
            <a:r>
              <a:rPr lang="ko-KR" altLang="en-US"/>
              <a:t>그 결과물들로 모델링 과정을 거쳤습니다</a:t>
            </a:r>
            <a:r>
              <a:rPr lang="en-US" altLang="ko-KR"/>
              <a:t>.</a:t>
            </a:r>
            <a:endParaRPr lang="en-US" altLang="ko-KR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en-US" altLang="ko-KR"/>
              <a:t>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655">
              <a:defRPr/>
            </a:pPr>
            <a:fld id="{57446D3C-7248-4466-83D3-3CA300DE77F3}" type="slidenum">
              <a:rPr lang="en-US">
                <a:solidFill>
                  <a:prstClr val="black"/>
                </a:solidFill>
                <a:latin typeface="Calibri"/>
              </a:rPr>
              <a:pPr defTabSz="942655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저희는 처음</a:t>
            </a:r>
            <a:r>
              <a:rPr lang="en-US" altLang="ko-KR"/>
              <a:t>, </a:t>
            </a:r>
            <a:r>
              <a:rPr lang="ko-KR" altLang="en-US"/>
              <a:t>마음껏 배달 어플에 대한 아이디어를 꺼내보았고</a:t>
            </a:r>
            <a:r>
              <a:rPr lang="en-US" altLang="ko-KR"/>
              <a:t>, </a:t>
            </a:r>
            <a:r>
              <a:rPr lang="ko-KR" altLang="en-US"/>
              <a:t>그 결과물들로 모델링 과정을 거쳤습니다</a:t>
            </a:r>
            <a:r>
              <a:rPr lang="en-US" altLang="ko-KR"/>
              <a:t>.</a:t>
            </a:r>
            <a:endParaRPr lang="en-US" altLang="ko-KR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en-US" altLang="ko-KR"/>
              <a:t>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655">
              <a:defRPr/>
            </a:pPr>
            <a:fld id="{57446D3C-7248-4466-83D3-3CA300DE77F3}" type="slidenum">
              <a:rPr lang="en-US">
                <a:solidFill>
                  <a:prstClr val="black"/>
                </a:solidFill>
                <a:latin typeface="Calibri"/>
              </a:rPr>
              <a:pPr defTabSz="942655">
                <a:defRPr/>
              </a:pPr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저희는 처음</a:t>
            </a:r>
            <a:r>
              <a:rPr lang="en-US" altLang="ko-KR"/>
              <a:t>, </a:t>
            </a:r>
            <a:r>
              <a:rPr lang="ko-KR" altLang="en-US"/>
              <a:t>마음껏 배달 어플에 대한 아이디어를 꺼내보았고</a:t>
            </a:r>
            <a:r>
              <a:rPr lang="en-US" altLang="ko-KR"/>
              <a:t>, </a:t>
            </a:r>
            <a:r>
              <a:rPr lang="ko-KR" altLang="en-US"/>
              <a:t>그 결과물들로 모델링 과정을 거쳤습니다</a:t>
            </a:r>
            <a:r>
              <a:rPr lang="en-US" altLang="ko-KR"/>
              <a:t>.</a:t>
            </a:r>
            <a:endParaRPr lang="en-US" altLang="ko-KR"/>
          </a:p>
          <a:p>
            <a:pPr lvl="0">
              <a:defRPr/>
            </a:pPr>
            <a:endParaRPr lang="en-US" altLang="ko-KR"/>
          </a:p>
          <a:p>
            <a:pPr lvl="0">
              <a:defRPr/>
            </a:pPr>
            <a:r>
              <a:rPr lang="en-US" altLang="ko-KR"/>
              <a:t> </a:t>
            </a:r>
            <a:endParaRPr lang="en-US" altLang="ko-K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655">
              <a:defRPr/>
            </a:pPr>
            <a:fld id="{57446D3C-7248-4466-83D3-3CA300DE77F3}" type="slidenum">
              <a:rPr lang="en-US">
                <a:solidFill>
                  <a:prstClr val="black"/>
                </a:solidFill>
                <a:latin typeface="Calibri"/>
              </a:rPr>
              <a:pPr defTabSz="942655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는 제가 준비한 코드를 설명해드리겠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저는 로그인과 </a:t>
            </a:r>
            <a:r>
              <a:rPr lang="ko-KR" altLang="en-US" dirty="0" err="1"/>
              <a:t>마이페이지</a:t>
            </a:r>
            <a:r>
              <a:rPr lang="ko-KR" altLang="en-US" dirty="0"/>
              <a:t> 부분을 맡았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일단 </a:t>
            </a:r>
            <a:r>
              <a:rPr lang="ko-KR" altLang="en-US" dirty="0" err="1"/>
              <a:t>로그인을</a:t>
            </a:r>
            <a:r>
              <a:rPr lang="ko-KR" altLang="en-US" dirty="0"/>
              <a:t> 하기 위해서 아이디와 패스워드 데이터가 필요했기에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데이터베이스를 가져오기 위해서 필요한 </a:t>
            </a:r>
            <a:r>
              <a:rPr lang="ko-KR" altLang="en-US" dirty="0" err="1"/>
              <a:t>쿼리문을</a:t>
            </a:r>
            <a:r>
              <a:rPr lang="ko-KR" altLang="en-US" dirty="0"/>
              <a:t> 부여했고</a:t>
            </a:r>
            <a:r>
              <a:rPr lang="en-US" altLang="ko-KR" dirty="0"/>
              <a:t>, </a:t>
            </a:r>
          </a:p>
          <a:p>
            <a:r>
              <a:rPr lang="en-US" altLang="ko-KR" dirty="0"/>
              <a:t>While</a:t>
            </a:r>
            <a:r>
              <a:rPr lang="ko-KR" altLang="en-US" dirty="0"/>
              <a:t>문을 통해서 테이블의 데이터를 행 단위로 하나씩 반복해서 가져와서 </a:t>
            </a:r>
            <a:r>
              <a:rPr lang="en-US" altLang="ko-KR" dirty="0" err="1"/>
              <a:t>rs</a:t>
            </a:r>
            <a:r>
              <a:rPr lang="ko-KR" altLang="en-US" dirty="0"/>
              <a:t>에 담을 수 있도록 했고</a:t>
            </a:r>
            <a:r>
              <a:rPr lang="en-US" altLang="ko-KR" dirty="0"/>
              <a:t>, </a:t>
            </a:r>
          </a:p>
          <a:p>
            <a:endParaRPr lang="en-US" altLang="ko-KR" dirty="0"/>
          </a:p>
          <a:p>
            <a:r>
              <a:rPr lang="en-US" altLang="ko-KR" dirty="0" err="1"/>
              <a:t>Rs</a:t>
            </a:r>
            <a:r>
              <a:rPr lang="ko-KR" altLang="en-US" dirty="0"/>
              <a:t>에 담긴 데이터들 중 필요한 내용들이 </a:t>
            </a:r>
            <a:r>
              <a:rPr lang="en-US" altLang="ko-KR" dirty="0"/>
              <a:t>list</a:t>
            </a:r>
            <a:r>
              <a:rPr lang="ko-KR" altLang="en-US" dirty="0"/>
              <a:t>에 담길 수 있도록 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4319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이번에는 </a:t>
            </a:r>
            <a:r>
              <a:rPr lang="ko-KR" altLang="en-US" dirty="0" err="1"/>
              <a:t>마이페이지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매개변수 </a:t>
            </a:r>
            <a:r>
              <a:rPr lang="en-US" altLang="ko-KR" dirty="0"/>
              <a:t>String </a:t>
            </a:r>
            <a:r>
              <a:rPr lang="en-US" altLang="ko-KR" dirty="0" err="1"/>
              <a:t>user_id</a:t>
            </a:r>
            <a:r>
              <a:rPr lang="ko-KR" altLang="en-US" dirty="0"/>
              <a:t>로 컨트롤러에 연결될 수 있도록 했고</a:t>
            </a:r>
            <a:r>
              <a:rPr lang="en-US" altLang="ko-KR" baseline="0" dirty="0"/>
              <a:t> </a:t>
            </a:r>
            <a:r>
              <a:rPr lang="ko-KR" altLang="en-US" dirty="0" err="1"/>
              <a:t>오라클과</a:t>
            </a:r>
            <a:r>
              <a:rPr lang="ko-KR" altLang="en-US" dirty="0"/>
              <a:t> 연결 해주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</a:p>
          <a:p>
            <a:r>
              <a:rPr lang="ko-KR" altLang="en-US" dirty="0" err="1"/>
              <a:t>오라클에</a:t>
            </a:r>
            <a:r>
              <a:rPr lang="ko-KR" altLang="en-US" dirty="0"/>
              <a:t> 있는 데이터베이스를 가져오기 위해서 </a:t>
            </a:r>
            <a:r>
              <a:rPr lang="en-US" altLang="ko-KR" dirty="0"/>
              <a:t>users</a:t>
            </a:r>
            <a:r>
              <a:rPr lang="en-US" altLang="ko-KR" baseline="0" dirty="0"/>
              <a:t> </a:t>
            </a:r>
            <a:r>
              <a:rPr lang="ko-KR" altLang="en-US" baseline="0" dirty="0"/>
              <a:t>테이블에서 입력된 아이디의 정보를 가져올 수 있도록 </a:t>
            </a:r>
            <a:r>
              <a:rPr lang="ko-KR" altLang="en-US" dirty="0" err="1"/>
              <a:t>쿼리문을</a:t>
            </a:r>
            <a:r>
              <a:rPr lang="ko-KR" altLang="en-US" dirty="0"/>
              <a:t> 부여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While</a:t>
            </a:r>
            <a:r>
              <a:rPr lang="ko-KR" altLang="en-US" dirty="0"/>
              <a:t>문을 통해서 테이블의 행 단위로 하나씩 반복해서 가져와서 </a:t>
            </a:r>
            <a:r>
              <a:rPr lang="en-US" altLang="ko-KR" dirty="0" err="1"/>
              <a:t>rs</a:t>
            </a:r>
            <a:r>
              <a:rPr lang="ko-KR" altLang="en-US" dirty="0"/>
              <a:t>에 담을 수 있도록 했고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데이터 내에 필요한 부분만 추출하려면 괄호 내에 데이터베이스의 해당되는 순서를 알려줘야 했기에 괄호 내 </a:t>
            </a:r>
            <a:r>
              <a:rPr lang="en-US" altLang="ko-KR" dirty="0"/>
              <a:t>DB</a:t>
            </a:r>
            <a:r>
              <a:rPr lang="ko-KR" altLang="en-US" dirty="0"/>
              <a:t>내 순서를 주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Rs</a:t>
            </a:r>
            <a:r>
              <a:rPr lang="ko-KR" altLang="en-US" dirty="0"/>
              <a:t>에 담긴 데이터들 중 필요한 내용들이 </a:t>
            </a:r>
            <a:r>
              <a:rPr lang="en-US" altLang="ko-KR" dirty="0"/>
              <a:t>list</a:t>
            </a:r>
            <a:r>
              <a:rPr lang="ko-KR" altLang="en-US" dirty="0"/>
              <a:t>에 담길 수 있도록 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53423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이번에는 주문내역 조회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매개변수 </a:t>
            </a:r>
            <a:r>
              <a:rPr lang="en-US" altLang="ko-KR" dirty="0"/>
              <a:t>String </a:t>
            </a:r>
            <a:r>
              <a:rPr lang="en-US" altLang="ko-KR" dirty="0" err="1"/>
              <a:t>user_id</a:t>
            </a:r>
            <a:r>
              <a:rPr lang="ko-KR" altLang="en-US" dirty="0"/>
              <a:t>로 컨트롤러에 연결될 수 있도록 했고</a:t>
            </a:r>
            <a:r>
              <a:rPr lang="en-US" altLang="ko-KR" baseline="0" dirty="0"/>
              <a:t> </a:t>
            </a:r>
            <a:r>
              <a:rPr lang="ko-KR" altLang="en-US" dirty="0" err="1"/>
              <a:t>오라클과</a:t>
            </a:r>
            <a:r>
              <a:rPr lang="ko-KR" altLang="en-US" dirty="0"/>
              <a:t> 연결 해주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</a:p>
          <a:p>
            <a:r>
              <a:rPr lang="ko-KR" altLang="en-US" dirty="0" err="1"/>
              <a:t>오라클에</a:t>
            </a:r>
            <a:r>
              <a:rPr lang="ko-KR" altLang="en-US" dirty="0"/>
              <a:t> 있는 데이터베이스를 가져오기 위해서 필요한 </a:t>
            </a:r>
            <a:r>
              <a:rPr lang="ko-KR" altLang="en-US" dirty="0" err="1"/>
              <a:t>쿼리문을</a:t>
            </a:r>
            <a:r>
              <a:rPr lang="ko-KR" altLang="en-US" dirty="0"/>
              <a:t> 부여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While</a:t>
            </a:r>
            <a:r>
              <a:rPr lang="ko-KR" altLang="en-US" dirty="0"/>
              <a:t>문을 통해서 테이블의 데이터를 </a:t>
            </a:r>
            <a:r>
              <a:rPr lang="en-US" altLang="ko-KR" dirty="0" err="1"/>
              <a:t>rs</a:t>
            </a:r>
            <a:r>
              <a:rPr lang="ko-KR" altLang="en-US" dirty="0"/>
              <a:t>에 담을 수 있도록 했고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데이터 내에 필요한 부분만 추출하려면 괄호 내에 데이터베이스의 해당되는 순서를 알려줘야 했기에 괄호 내 </a:t>
            </a:r>
            <a:r>
              <a:rPr lang="en-US" altLang="ko-KR" dirty="0"/>
              <a:t>DB</a:t>
            </a:r>
            <a:r>
              <a:rPr lang="ko-KR" altLang="en-US" dirty="0"/>
              <a:t>내 순서를 알려주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Rs</a:t>
            </a:r>
            <a:r>
              <a:rPr lang="ko-KR" altLang="en-US" dirty="0"/>
              <a:t>에 담긴 데이터들 중 필요한 내용들이 </a:t>
            </a:r>
            <a:r>
              <a:rPr lang="en-US" altLang="ko-KR" dirty="0"/>
              <a:t>list</a:t>
            </a:r>
            <a:r>
              <a:rPr lang="ko-KR" altLang="en-US" dirty="0"/>
              <a:t>에 담길 수 있도록 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19884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컨트롤러의 로그인 부분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아이디와 비밀번호를 사용자로부터 </a:t>
            </a:r>
            <a:r>
              <a:rPr lang="ko-KR" altLang="en-US" dirty="0" err="1"/>
              <a:t>입력받을</a:t>
            </a:r>
            <a:r>
              <a:rPr lang="ko-KR" altLang="en-US" dirty="0"/>
              <a:t> 수 있게 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포문을 통해 연결된 데이터베이스에 사용자가 입력한 데이터가 있는지 비교할 수 있도록 하였고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비교하는 과정에서 아이디와 비밀번호가 모두 같을 시</a:t>
            </a:r>
            <a:r>
              <a:rPr lang="en-US" altLang="ko-KR" dirty="0"/>
              <a:t>, </a:t>
            </a:r>
            <a:r>
              <a:rPr lang="ko-KR" altLang="en-US" dirty="0" err="1"/>
              <a:t>로그인</a:t>
            </a:r>
            <a:r>
              <a:rPr lang="ko-KR" altLang="en-US" baseline="0" dirty="0" err="1"/>
              <a:t>되었다는</a:t>
            </a:r>
            <a:r>
              <a:rPr lang="ko-KR" altLang="en-US" baseline="0" dirty="0"/>
              <a:t> </a:t>
            </a:r>
            <a:r>
              <a:rPr lang="ko-KR" altLang="en-US" baseline="0" dirty="0" err="1"/>
              <a:t>멘트와</a:t>
            </a:r>
            <a:r>
              <a:rPr lang="ko-KR" altLang="en-US" baseline="0" dirty="0"/>
              <a:t> 함께 </a:t>
            </a:r>
            <a:r>
              <a:rPr lang="ko-KR" altLang="en-US" baseline="0" dirty="0" err="1"/>
              <a:t>로그인이</a:t>
            </a:r>
            <a:r>
              <a:rPr lang="ko-KR" altLang="en-US" baseline="0" dirty="0"/>
              <a:t> 성공되고</a:t>
            </a:r>
            <a:r>
              <a:rPr lang="en-US" altLang="ko-KR" baseline="0" dirty="0"/>
              <a:t>,</a:t>
            </a:r>
          </a:p>
          <a:p>
            <a:r>
              <a:rPr lang="ko-KR" altLang="en-US" baseline="0" dirty="0"/>
              <a:t>둘 중 하나라도 틀릴 경우</a:t>
            </a:r>
            <a:r>
              <a:rPr lang="en-US" altLang="ko-KR" baseline="0" dirty="0"/>
              <a:t>, </a:t>
            </a:r>
            <a:r>
              <a:rPr lang="ko-KR" altLang="en-US" baseline="0" dirty="0"/>
              <a:t>로그인 실패라는 문구와 함께 </a:t>
            </a:r>
            <a:r>
              <a:rPr lang="ko-KR" altLang="en-US" baseline="0" dirty="0" err="1"/>
              <a:t>로그인에</a:t>
            </a:r>
            <a:r>
              <a:rPr lang="ko-KR" altLang="en-US" baseline="0" dirty="0"/>
              <a:t> 실패하게 됩니다</a:t>
            </a:r>
            <a:r>
              <a:rPr lang="en-US" altLang="ko-KR" baseline="0" dirty="0"/>
              <a:t>. </a:t>
            </a:r>
          </a:p>
          <a:p>
            <a:r>
              <a:rPr lang="ko-KR" altLang="en-US" baseline="0" dirty="0"/>
              <a:t>바로 이어서 </a:t>
            </a:r>
            <a:r>
              <a:rPr lang="ko-KR" altLang="en-US" baseline="0" dirty="0" err="1"/>
              <a:t>회원가입하겠냐는</a:t>
            </a:r>
            <a:r>
              <a:rPr lang="ko-KR" altLang="en-US" baseline="0" dirty="0"/>
              <a:t> 문구와 함께 </a:t>
            </a:r>
            <a:r>
              <a:rPr lang="en-US" altLang="ko-KR" baseline="0" dirty="0"/>
              <a:t>y</a:t>
            </a:r>
            <a:r>
              <a:rPr lang="ko-KR" altLang="en-US" baseline="0" dirty="0"/>
              <a:t>를 </a:t>
            </a:r>
            <a:r>
              <a:rPr lang="ko-KR" altLang="en-US" baseline="0" dirty="0" err="1"/>
              <a:t>입력시</a:t>
            </a:r>
            <a:r>
              <a:rPr lang="en-US" altLang="ko-KR" baseline="0" dirty="0"/>
              <a:t>, </a:t>
            </a:r>
            <a:r>
              <a:rPr lang="ko-KR" altLang="en-US" baseline="0" dirty="0"/>
              <a:t>회원가입을 할 수 있는 창으로 넘어가게 됩니다</a:t>
            </a:r>
            <a:r>
              <a:rPr lang="en-US" altLang="ko-KR" baseline="0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0653B-8FC2-4C8E-B0DB-DC6058263EA5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82570139"/>
      </p:ext>
    </p:extLst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1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2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2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2.xml"  /></Relationships>
</file>

<file path=ppt/slideLayouts/_rels/slideLayout2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2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3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3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6F4060-3843-4BDA-AFE7-91CF8B568D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AA568F0-ECA3-4735-B236-B9C372347A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35C5863-5ECD-4497-9482-C174E8904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1D52B2A-821A-42DE-ACFC-48411D412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53D0BC7-C845-4442-B6D8-E3DD12385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71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67729E-77C2-4E92-8C57-7DBD0EEB7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47C5A88-A40B-4044-83F1-44C0373A8A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AFAA6EF-AC01-4708-8F9B-AF2B74142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0E905C5-77E4-4981-9271-FE71EB78F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E6374A2-AED7-4CA7-A9FA-42D5A264B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646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4DA6FB7-5895-48BA-AE4E-24C9C310D6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9DCEB5B-8111-414D-83F9-E13732A449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AC6FA23-7857-4788-9276-8BE5DD873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B2C2E70-2854-4AA7-B5BD-EDCA8DC76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2E2114A-B8D8-4010-8D1B-7F9B22ECA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153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273A1B-BA3D-4D5F-9B8F-84FB0ED6D2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0E9BE565-C1BF-40EF-99B9-BF6CC48085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CD5415E-9DE9-4713-BCC2-0828573A8A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1148F16-235A-4CCE-A53D-A83A91F33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97304EA-EEF7-434B-AC0E-1237F56F0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2272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9380FE-5C52-484B-BFC4-38CE65C30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3A516AA-BEB4-49D6-909B-5CAAA7ABB8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8EA413C-5DD1-4FF0-8254-C2795B58C0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5675B7-5C82-485F-B373-431F00DB5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B8C3BD1-DE8E-4743-AFB6-6AFB279D5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496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5903BA-C50A-42C6-B449-200D19DFD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3616EA9-4313-4A14-9DBE-545B4D684D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A926E55-2FA3-4AB8-AE9D-BAFB9EC988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6CF7BE0-D1DA-41EC-8D64-77559B80B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925D3C5-14FF-454E-9C51-612EC3F66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340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6635F33-1CE6-4625-8A98-71B74BA0E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CFA81AA-4873-4A69-A986-8AF3F70A9B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03F5723-43B3-4A65-B358-52C8FDD1C3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1550CBA-2B09-43BF-87EA-23E57C2B3F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AE79D5E-155B-4FFA-BAA5-8F1E60D8A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4079793-D22F-44B1-BC20-49A14E432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120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D2C445-1370-4605-A751-287BBE80E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BEA790B-6DB5-4D7E-A217-4FADDC4E6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FAFC89B-EC20-4C88-B118-2C7DEA218E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1E96492-EE9B-4C73-872B-53FFFBD1BF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F66D3D8-5EF3-4D1B-8069-810C6F9408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A263F64-EDEF-4AE2-8439-6E56A967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7362989A-D6F0-4095-B08E-5EFB2033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4188CBD-E2E4-48D0-AE19-2FC80FD01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066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2AD0A1-BC82-41AB-85B7-9C1D2E1C0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0785545-EAA1-4402-B9AD-280980D49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5DBCBCD-024D-4DDC-B8B0-A0BC26B86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9ACD3FF-15E6-42B9-855C-4D63CD706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8763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02B8356-6620-4867-9E08-4E2775B00A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5766D0C-8515-49A2-B6F0-95C1AAFE0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6C11290-B525-43AA-9B2B-DE76FD6A7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613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26453A-3C5A-4E18-B5BB-142982E96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592A955-F459-4368-AD4E-8EC6B5323D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AB9F443-96E7-4CD6-A6E7-C9FC08B8D9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920F4C6-4409-46EC-B0D6-A65E74C922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4BD6DB0-2E0F-43A4-B500-B3318FB2C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FE54230-75D3-4F8E-B16C-79F17DBC2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125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AD220F-E595-4B99-A230-4D19ACEC1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257D8A4-F175-4AF3-ABAB-06975B6A19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B8374DB-50B9-4F4A-91FC-743AD209C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9058D5E-9E73-4250-AE7E-09B65781D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5E515C-4AAF-44AE-8382-EAB37B443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333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103B198-D763-4E1D-8762-437D70B74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D39A207-C70F-4050-9CCE-F4F388D5A8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E353F7E-2D35-4C3E-A33D-B29A3FAE1F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24D338E-0511-42D0-939A-B79BB67472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7EC5FC5-F3D1-4906-A8D8-265F99B2F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834C93B-A3AB-4FAE-BCBF-D139ECBF4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825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990BF0-C146-488D-A22B-0772B4E0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1945AC1-07E2-4CEE-B19E-15140216AE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BAF2BA7-AA92-4A5B-9883-1548AB6C0D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4B626A7-4093-49BB-9784-9F57ACDD6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2A3FA3E-6104-4D05-9DBA-ED2607BC2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50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085D4817-09FE-45C9-95A4-5EC7AD0AB8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FAA2AFD-FD60-462D-9ABA-181332E7D3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3494FDF-D8B7-4D06-BCFF-FEF6C20902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493747-505D-44D1-A0A5-D7D93F807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80B99D-0681-486C-92F2-F5245A843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323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7D614-CFA0-4967-B4AF-E87DC6DD97C3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800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870911" y="-1362002"/>
            <a:ext cx="13062911" cy="6124243"/>
            <a:chOff x="-870911" y="-1362002"/>
            <a:chExt cx="13062911" cy="6124243"/>
          </a:xfrm>
        </p:grpSpPr>
        <p:sp>
          <p:nvSpPr>
            <p:cNvPr id="8" name="Freeform 7"/>
            <p:cNvSpPr/>
            <p:nvPr/>
          </p:nvSpPr>
          <p:spPr>
            <a:xfrm>
              <a:off x="0" y="1"/>
              <a:ext cx="12192000" cy="4762240"/>
            </a:xfrm>
            <a:custGeom>
              <a:avLst/>
              <a:gdLst>
                <a:gd name="connsiteX0" fmla="*/ 0 w 12192000"/>
                <a:gd name="connsiteY0" fmla="*/ 0 h 4762240"/>
                <a:gd name="connsiteX1" fmla="*/ 12192000 w 12192000"/>
                <a:gd name="connsiteY1" fmla="*/ 0 h 4762240"/>
                <a:gd name="connsiteX2" fmla="*/ 12192000 w 12192000"/>
                <a:gd name="connsiteY2" fmla="*/ 3636837 h 4762240"/>
                <a:gd name="connsiteX3" fmla="*/ 12179072 w 12192000"/>
                <a:gd name="connsiteY3" fmla="*/ 3642962 h 4762240"/>
                <a:gd name="connsiteX4" fmla="*/ 9362661 w 12192000"/>
                <a:gd name="connsiteY4" fmla="*/ 4257618 h 4762240"/>
                <a:gd name="connsiteX5" fmla="*/ 3637722 w 12192000"/>
                <a:gd name="connsiteY5" fmla="*/ 2548088 h 4762240"/>
                <a:gd name="connsiteX6" fmla="*/ 106582 w 12192000"/>
                <a:gd name="connsiteY6" fmla="*/ 4693487 h 4762240"/>
                <a:gd name="connsiteX7" fmla="*/ 0 w 12192000"/>
                <a:gd name="connsiteY7" fmla="*/ 4762240 h 476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4762240">
                  <a:moveTo>
                    <a:pt x="0" y="0"/>
                  </a:moveTo>
                  <a:lnTo>
                    <a:pt x="12192000" y="0"/>
                  </a:lnTo>
                  <a:lnTo>
                    <a:pt x="12192000" y="3636837"/>
                  </a:lnTo>
                  <a:lnTo>
                    <a:pt x="12179072" y="3642962"/>
                  </a:lnTo>
                  <a:cubicBezTo>
                    <a:pt x="11344702" y="4013605"/>
                    <a:pt x="10294455" y="4265072"/>
                    <a:pt x="9362661" y="4257618"/>
                  </a:cubicBezTo>
                  <a:cubicBezTo>
                    <a:pt x="7706139" y="4244366"/>
                    <a:pt x="5314122" y="2442071"/>
                    <a:pt x="3637722" y="2548088"/>
                  </a:cubicBezTo>
                  <a:cubicBezTo>
                    <a:pt x="2432811" y="2624288"/>
                    <a:pt x="1020804" y="4079975"/>
                    <a:pt x="106582" y="4693487"/>
                  </a:cubicBezTo>
                  <a:lnTo>
                    <a:pt x="0" y="47622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-870911" y="-1362002"/>
              <a:ext cx="13034137" cy="5687885"/>
              <a:chOff x="-870911" y="-1362002"/>
              <a:chExt cx="13034137" cy="5687885"/>
            </a:xfrm>
          </p:grpSpPr>
          <p:grpSp>
            <p:nvGrpSpPr>
              <p:cNvPr id="10" name="Group 9"/>
              <p:cNvGrpSpPr/>
              <p:nvPr/>
            </p:nvGrpSpPr>
            <p:grpSpPr>
              <a:xfrm rot="977373">
                <a:off x="96630" y="1599912"/>
                <a:ext cx="2123695" cy="2678219"/>
                <a:chOff x="7748588" y="1082675"/>
                <a:chExt cx="285750" cy="360363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34" name="Freeform 56"/>
                <p:cNvSpPr>
                  <a:spLocks noEditPoints="1"/>
                </p:cNvSpPr>
                <p:nvPr/>
              </p:nvSpPr>
              <p:spPr bwMode="auto">
                <a:xfrm>
                  <a:off x="7748588" y="1157288"/>
                  <a:ext cx="285750" cy="285750"/>
                </a:xfrm>
                <a:custGeom>
                  <a:avLst/>
                  <a:gdLst>
                    <a:gd name="T0" fmla="*/ 65 w 76"/>
                    <a:gd name="T1" fmla="*/ 11 h 76"/>
                    <a:gd name="T2" fmla="*/ 62 w 76"/>
                    <a:gd name="T3" fmla="*/ 11 h 76"/>
                    <a:gd name="T4" fmla="*/ 40 w 76"/>
                    <a:gd name="T5" fmla="*/ 33 h 76"/>
                    <a:gd name="T6" fmla="*/ 40 w 76"/>
                    <a:gd name="T7" fmla="*/ 2 h 76"/>
                    <a:gd name="T8" fmla="*/ 38 w 76"/>
                    <a:gd name="T9" fmla="*/ 0 h 76"/>
                    <a:gd name="T10" fmla="*/ 0 w 76"/>
                    <a:gd name="T11" fmla="*/ 38 h 76"/>
                    <a:gd name="T12" fmla="*/ 38 w 76"/>
                    <a:gd name="T13" fmla="*/ 76 h 76"/>
                    <a:gd name="T14" fmla="*/ 76 w 76"/>
                    <a:gd name="T15" fmla="*/ 38 h 76"/>
                    <a:gd name="T16" fmla="*/ 65 w 76"/>
                    <a:gd name="T17" fmla="*/ 11 h 76"/>
                    <a:gd name="T18" fmla="*/ 53 w 76"/>
                    <a:gd name="T19" fmla="*/ 23 h 76"/>
                    <a:gd name="T20" fmla="*/ 54 w 76"/>
                    <a:gd name="T21" fmla="*/ 24 h 76"/>
                    <a:gd name="T22" fmla="*/ 54 w 76"/>
                    <a:gd name="T23" fmla="*/ 30 h 76"/>
                    <a:gd name="T24" fmla="*/ 48 w 76"/>
                    <a:gd name="T25" fmla="*/ 30 h 76"/>
                    <a:gd name="T26" fmla="*/ 47 w 76"/>
                    <a:gd name="T27" fmla="*/ 29 h 76"/>
                    <a:gd name="T28" fmla="*/ 53 w 76"/>
                    <a:gd name="T29" fmla="*/ 23 h 76"/>
                    <a:gd name="T30" fmla="*/ 60 w 76"/>
                    <a:gd name="T31" fmla="*/ 42 h 76"/>
                    <a:gd name="T32" fmla="*/ 54 w 76"/>
                    <a:gd name="T33" fmla="*/ 48 h 76"/>
                    <a:gd name="T34" fmla="*/ 48 w 76"/>
                    <a:gd name="T35" fmla="*/ 42 h 76"/>
                    <a:gd name="T36" fmla="*/ 54 w 76"/>
                    <a:gd name="T37" fmla="*/ 36 h 76"/>
                    <a:gd name="T38" fmla="*/ 60 w 76"/>
                    <a:gd name="T39" fmla="*/ 42 h 76"/>
                    <a:gd name="T40" fmla="*/ 40 w 76"/>
                    <a:gd name="T41" fmla="*/ 48 h 76"/>
                    <a:gd name="T42" fmla="*/ 46 w 76"/>
                    <a:gd name="T43" fmla="*/ 54 h 76"/>
                    <a:gd name="T44" fmla="*/ 40 w 76"/>
                    <a:gd name="T45" fmla="*/ 60 h 76"/>
                    <a:gd name="T46" fmla="*/ 34 w 76"/>
                    <a:gd name="T47" fmla="*/ 54 h 76"/>
                    <a:gd name="T48" fmla="*/ 40 w 76"/>
                    <a:gd name="T49" fmla="*/ 48 h 76"/>
                    <a:gd name="T50" fmla="*/ 28 w 76"/>
                    <a:gd name="T51" fmla="*/ 30 h 76"/>
                    <a:gd name="T52" fmla="*/ 22 w 76"/>
                    <a:gd name="T53" fmla="*/ 24 h 76"/>
                    <a:gd name="T54" fmla="*/ 28 w 76"/>
                    <a:gd name="T55" fmla="*/ 18 h 76"/>
                    <a:gd name="T56" fmla="*/ 34 w 76"/>
                    <a:gd name="T57" fmla="*/ 24 h 76"/>
                    <a:gd name="T58" fmla="*/ 28 w 76"/>
                    <a:gd name="T59" fmla="*/ 30 h 76"/>
                    <a:gd name="T60" fmla="*/ 30 w 76"/>
                    <a:gd name="T61" fmla="*/ 42 h 76"/>
                    <a:gd name="T62" fmla="*/ 24 w 76"/>
                    <a:gd name="T63" fmla="*/ 48 h 76"/>
                    <a:gd name="T64" fmla="*/ 18 w 76"/>
                    <a:gd name="T65" fmla="*/ 42 h 76"/>
                    <a:gd name="T66" fmla="*/ 24 w 76"/>
                    <a:gd name="T67" fmla="*/ 36 h 76"/>
                    <a:gd name="T68" fmla="*/ 30 w 76"/>
                    <a:gd name="T69" fmla="*/ 42 h 76"/>
                    <a:gd name="T70" fmla="*/ 38 w 76"/>
                    <a:gd name="T71" fmla="*/ 72 h 76"/>
                    <a:gd name="T72" fmla="*/ 4 w 76"/>
                    <a:gd name="T73" fmla="*/ 38 h 76"/>
                    <a:gd name="T74" fmla="*/ 36 w 76"/>
                    <a:gd name="T75" fmla="*/ 4 h 76"/>
                    <a:gd name="T76" fmla="*/ 36 w 76"/>
                    <a:gd name="T77" fmla="*/ 10 h 76"/>
                    <a:gd name="T78" fmla="*/ 10 w 76"/>
                    <a:gd name="T79" fmla="*/ 38 h 76"/>
                    <a:gd name="T80" fmla="*/ 38 w 76"/>
                    <a:gd name="T81" fmla="*/ 66 h 76"/>
                    <a:gd name="T82" fmla="*/ 66 w 76"/>
                    <a:gd name="T83" fmla="*/ 38 h 76"/>
                    <a:gd name="T84" fmla="*/ 59 w 76"/>
                    <a:gd name="T85" fmla="*/ 20 h 76"/>
                    <a:gd name="T86" fmla="*/ 63 w 76"/>
                    <a:gd name="T87" fmla="*/ 15 h 76"/>
                    <a:gd name="T88" fmla="*/ 72 w 76"/>
                    <a:gd name="T89" fmla="*/ 38 h 76"/>
                    <a:gd name="T90" fmla="*/ 38 w 76"/>
                    <a:gd name="T91" fmla="*/ 7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6" h="76">
                      <a:moveTo>
                        <a:pt x="65" y="11"/>
                      </a:moveTo>
                      <a:cubicBezTo>
                        <a:pt x="64" y="10"/>
                        <a:pt x="63" y="10"/>
                        <a:pt x="62" y="11"/>
                      </a:cubicBezTo>
                      <a:cubicBezTo>
                        <a:pt x="40" y="33"/>
                        <a:pt x="40" y="33"/>
                        <a:pt x="40" y="33"/>
                      </a:cubicBezTo>
                      <a:cubicBezTo>
                        <a:pt x="40" y="2"/>
                        <a:pt x="40" y="2"/>
                        <a:pt x="40" y="2"/>
                      </a:cubicBezTo>
                      <a:cubicBezTo>
                        <a:pt x="40" y="1"/>
                        <a:pt x="39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59"/>
                        <a:pt x="17" y="76"/>
                        <a:pt x="38" y="76"/>
                      </a:cubicBezTo>
                      <a:cubicBezTo>
                        <a:pt x="59" y="76"/>
                        <a:pt x="76" y="59"/>
                        <a:pt x="76" y="38"/>
                      </a:cubicBezTo>
                      <a:cubicBezTo>
                        <a:pt x="76" y="28"/>
                        <a:pt x="72" y="18"/>
                        <a:pt x="65" y="11"/>
                      </a:cubicBezTo>
                      <a:close/>
                      <a:moveTo>
                        <a:pt x="53" y="23"/>
                      </a:move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6" y="26"/>
                        <a:pt x="56" y="28"/>
                        <a:pt x="54" y="30"/>
                      </a:cubicBezTo>
                      <a:cubicBezTo>
                        <a:pt x="52" y="32"/>
                        <a:pt x="50" y="32"/>
                        <a:pt x="48" y="30"/>
                      </a:cubicBezTo>
                      <a:cubicBezTo>
                        <a:pt x="47" y="29"/>
                        <a:pt x="47" y="29"/>
                        <a:pt x="47" y="29"/>
                      </a:cubicBezTo>
                      <a:lnTo>
                        <a:pt x="53" y="23"/>
                      </a:lnTo>
                      <a:close/>
                      <a:moveTo>
                        <a:pt x="60" y="42"/>
                      </a:moveTo>
                      <a:cubicBezTo>
                        <a:pt x="60" y="45"/>
                        <a:pt x="57" y="48"/>
                        <a:pt x="54" y="48"/>
                      </a:cubicBezTo>
                      <a:cubicBezTo>
                        <a:pt x="51" y="48"/>
                        <a:pt x="48" y="45"/>
                        <a:pt x="48" y="42"/>
                      </a:cubicBezTo>
                      <a:cubicBezTo>
                        <a:pt x="48" y="39"/>
                        <a:pt x="51" y="36"/>
                        <a:pt x="54" y="36"/>
                      </a:cubicBezTo>
                      <a:cubicBezTo>
                        <a:pt x="57" y="36"/>
                        <a:pt x="60" y="39"/>
                        <a:pt x="60" y="42"/>
                      </a:cubicBezTo>
                      <a:close/>
                      <a:moveTo>
                        <a:pt x="40" y="48"/>
                      </a:moveTo>
                      <a:cubicBezTo>
                        <a:pt x="43" y="48"/>
                        <a:pt x="46" y="51"/>
                        <a:pt x="46" y="54"/>
                      </a:cubicBezTo>
                      <a:cubicBezTo>
                        <a:pt x="46" y="57"/>
                        <a:pt x="43" y="60"/>
                        <a:pt x="40" y="60"/>
                      </a:cubicBezTo>
                      <a:cubicBezTo>
                        <a:pt x="37" y="60"/>
                        <a:pt x="34" y="57"/>
                        <a:pt x="34" y="54"/>
                      </a:cubicBezTo>
                      <a:cubicBezTo>
                        <a:pt x="34" y="51"/>
                        <a:pt x="37" y="48"/>
                        <a:pt x="40" y="48"/>
                      </a:cubicBezTo>
                      <a:close/>
                      <a:moveTo>
                        <a:pt x="28" y="30"/>
                      </a:moveTo>
                      <a:cubicBezTo>
                        <a:pt x="25" y="30"/>
                        <a:pt x="22" y="27"/>
                        <a:pt x="22" y="24"/>
                      </a:cubicBezTo>
                      <a:cubicBezTo>
                        <a:pt x="22" y="21"/>
                        <a:pt x="25" y="18"/>
                        <a:pt x="28" y="18"/>
                      </a:cubicBezTo>
                      <a:cubicBezTo>
                        <a:pt x="31" y="18"/>
                        <a:pt x="34" y="21"/>
                        <a:pt x="34" y="24"/>
                      </a:cubicBezTo>
                      <a:cubicBezTo>
                        <a:pt x="34" y="27"/>
                        <a:pt x="31" y="30"/>
                        <a:pt x="28" y="30"/>
                      </a:cubicBezTo>
                      <a:close/>
                      <a:moveTo>
                        <a:pt x="30" y="42"/>
                      </a:moveTo>
                      <a:cubicBezTo>
                        <a:pt x="30" y="45"/>
                        <a:pt x="27" y="48"/>
                        <a:pt x="24" y="48"/>
                      </a:cubicBezTo>
                      <a:cubicBezTo>
                        <a:pt x="21" y="48"/>
                        <a:pt x="18" y="45"/>
                        <a:pt x="18" y="42"/>
                      </a:cubicBezTo>
                      <a:cubicBezTo>
                        <a:pt x="18" y="39"/>
                        <a:pt x="21" y="36"/>
                        <a:pt x="24" y="36"/>
                      </a:cubicBezTo>
                      <a:cubicBezTo>
                        <a:pt x="27" y="36"/>
                        <a:pt x="30" y="39"/>
                        <a:pt x="30" y="42"/>
                      </a:cubicBezTo>
                      <a:close/>
                      <a:moveTo>
                        <a:pt x="38" y="72"/>
                      </a:moveTo>
                      <a:cubicBezTo>
                        <a:pt x="19" y="72"/>
                        <a:pt x="4" y="57"/>
                        <a:pt x="4" y="38"/>
                      </a:cubicBezTo>
                      <a:cubicBezTo>
                        <a:pt x="4" y="20"/>
                        <a:pt x="18" y="5"/>
                        <a:pt x="36" y="4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21" y="11"/>
                        <a:pt x="10" y="23"/>
                        <a:pt x="10" y="38"/>
                      </a:cubicBezTo>
                      <a:cubicBezTo>
                        <a:pt x="10" y="53"/>
                        <a:pt x="23" y="66"/>
                        <a:pt x="38" y="66"/>
                      </a:cubicBezTo>
                      <a:cubicBezTo>
                        <a:pt x="53" y="66"/>
                        <a:pt x="66" y="53"/>
                        <a:pt x="66" y="38"/>
                      </a:cubicBezTo>
                      <a:cubicBezTo>
                        <a:pt x="66" y="31"/>
                        <a:pt x="63" y="25"/>
                        <a:pt x="59" y="20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9" y="22"/>
                        <a:pt x="72" y="30"/>
                        <a:pt x="72" y="38"/>
                      </a:cubicBezTo>
                      <a:cubicBezTo>
                        <a:pt x="72" y="57"/>
                        <a:pt x="57" y="72"/>
                        <a:pt x="38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5" name="Freeform 57"/>
                <p:cNvSpPr>
                  <a:spLocks noEditPoints="1"/>
                </p:cNvSpPr>
                <p:nvPr/>
              </p:nvSpPr>
              <p:spPr bwMode="auto">
                <a:xfrm>
                  <a:off x="7913688" y="1082675"/>
                  <a:ext cx="109538" cy="150813"/>
                </a:xfrm>
                <a:custGeom>
                  <a:avLst/>
                  <a:gdLst>
                    <a:gd name="T0" fmla="*/ 1 w 29"/>
                    <a:gd name="T1" fmla="*/ 40 h 40"/>
                    <a:gd name="T2" fmla="*/ 3 w 29"/>
                    <a:gd name="T3" fmla="*/ 39 h 40"/>
                    <a:gd name="T4" fmla="*/ 29 w 29"/>
                    <a:gd name="T5" fmla="*/ 13 h 40"/>
                    <a:gd name="T6" fmla="*/ 29 w 29"/>
                    <a:gd name="T7" fmla="*/ 12 h 40"/>
                    <a:gd name="T8" fmla="*/ 29 w 29"/>
                    <a:gd name="T9" fmla="*/ 11 h 40"/>
                    <a:gd name="T10" fmla="*/ 2 w 29"/>
                    <a:gd name="T11" fmla="*/ 0 h 40"/>
                    <a:gd name="T12" fmla="*/ 0 w 29"/>
                    <a:gd name="T13" fmla="*/ 2 h 40"/>
                    <a:gd name="T14" fmla="*/ 0 w 29"/>
                    <a:gd name="T15" fmla="*/ 10 h 40"/>
                    <a:gd name="T16" fmla="*/ 0 w 29"/>
                    <a:gd name="T17" fmla="*/ 38 h 40"/>
                    <a:gd name="T18" fmla="*/ 1 w 29"/>
                    <a:gd name="T19" fmla="*/ 40 h 40"/>
                    <a:gd name="T20" fmla="*/ 11 w 29"/>
                    <a:gd name="T21" fmla="*/ 29 h 40"/>
                    <a:gd name="T22" fmla="*/ 10 w 29"/>
                    <a:gd name="T23" fmla="*/ 28 h 40"/>
                    <a:gd name="T24" fmla="*/ 10 w 29"/>
                    <a:gd name="T25" fmla="*/ 22 h 40"/>
                    <a:gd name="T26" fmla="*/ 16 w 29"/>
                    <a:gd name="T27" fmla="*/ 22 h 40"/>
                    <a:gd name="T28" fmla="*/ 17 w 29"/>
                    <a:gd name="T29" fmla="*/ 23 h 40"/>
                    <a:gd name="T30" fmla="*/ 11 w 29"/>
                    <a:gd name="T31" fmla="*/ 29 h 40"/>
                    <a:gd name="T32" fmla="*/ 4 w 29"/>
                    <a:gd name="T33" fmla="*/ 4 h 40"/>
                    <a:gd name="T34" fmla="*/ 25 w 29"/>
                    <a:gd name="T35" fmla="*/ 12 h 40"/>
                    <a:gd name="T36" fmla="*/ 22 w 29"/>
                    <a:gd name="T37" fmla="*/ 15 h 40"/>
                    <a:gd name="T38" fmla="*/ 4 w 29"/>
                    <a:gd name="T39" fmla="*/ 8 h 40"/>
                    <a:gd name="T40" fmla="*/ 4 w 29"/>
                    <a:gd name="T41" fmla="*/ 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9" h="40">
                      <a:moveTo>
                        <a:pt x="1" y="40"/>
                      </a:moveTo>
                      <a:cubicBezTo>
                        <a:pt x="2" y="40"/>
                        <a:pt x="3" y="40"/>
                        <a:pt x="3" y="39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29" y="13"/>
                        <a:pt x="29" y="13"/>
                        <a:pt x="29" y="12"/>
                      </a:cubicBezTo>
                      <a:cubicBezTo>
                        <a:pt x="29" y="11"/>
                        <a:pt x="29" y="11"/>
                        <a:pt x="29" y="11"/>
                      </a:cubicBezTo>
                      <a:cubicBezTo>
                        <a:pt x="21" y="4"/>
                        <a:pt x="1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0"/>
                        <a:pt x="1" y="40"/>
                      </a:cubicBezTo>
                      <a:close/>
                      <a:moveTo>
                        <a:pt x="11" y="29"/>
                      </a:move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8" y="26"/>
                        <a:pt x="8" y="24"/>
                        <a:pt x="10" y="22"/>
                      </a:cubicBezTo>
                      <a:cubicBezTo>
                        <a:pt x="11" y="20"/>
                        <a:pt x="14" y="20"/>
                        <a:pt x="16" y="22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lnTo>
                        <a:pt x="11" y="29"/>
                      </a:lnTo>
                      <a:close/>
                      <a:moveTo>
                        <a:pt x="4" y="4"/>
                      </a:moveTo>
                      <a:cubicBezTo>
                        <a:pt x="12" y="5"/>
                        <a:pt x="19" y="7"/>
                        <a:pt x="25" y="12"/>
                      </a:cubicBezTo>
                      <a:cubicBezTo>
                        <a:pt x="22" y="15"/>
                        <a:pt x="22" y="15"/>
                        <a:pt x="22" y="15"/>
                      </a:cubicBezTo>
                      <a:cubicBezTo>
                        <a:pt x="17" y="11"/>
                        <a:pt x="11" y="8"/>
                        <a:pt x="4" y="8"/>
                      </a:cubicBez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grpSp>
            <p:nvGrpSpPr>
              <p:cNvPr id="11" name="Group 10"/>
              <p:cNvGrpSpPr/>
              <p:nvPr/>
            </p:nvGrpSpPr>
            <p:grpSpPr>
              <a:xfrm>
                <a:off x="5782516" y="1765647"/>
                <a:ext cx="2005712" cy="2560236"/>
                <a:chOff x="9199563" y="1098550"/>
                <a:chExt cx="269875" cy="344488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29" name="Freeform 138"/>
                <p:cNvSpPr>
                  <a:spLocks/>
                </p:cNvSpPr>
                <p:nvPr/>
              </p:nvSpPr>
              <p:spPr bwMode="auto">
                <a:xfrm>
                  <a:off x="9213851" y="1098550"/>
                  <a:ext cx="120650" cy="179388"/>
                </a:xfrm>
                <a:custGeom>
                  <a:avLst/>
                  <a:gdLst>
                    <a:gd name="T0" fmla="*/ 12 w 32"/>
                    <a:gd name="T1" fmla="*/ 36 h 48"/>
                    <a:gd name="T2" fmla="*/ 18 w 32"/>
                    <a:gd name="T3" fmla="*/ 42 h 48"/>
                    <a:gd name="T4" fmla="*/ 32 w 32"/>
                    <a:gd name="T5" fmla="*/ 48 h 48"/>
                    <a:gd name="T6" fmla="*/ 28 w 32"/>
                    <a:gd name="T7" fmla="*/ 0 h 48"/>
                    <a:gd name="T8" fmla="*/ 16 w 32"/>
                    <a:gd name="T9" fmla="*/ 1 h 48"/>
                    <a:gd name="T10" fmla="*/ 19 w 32"/>
                    <a:gd name="T11" fmla="*/ 38 h 48"/>
                    <a:gd name="T12" fmla="*/ 10 w 32"/>
                    <a:gd name="T13" fmla="*/ 8 h 48"/>
                    <a:gd name="T14" fmla="*/ 4 w 32"/>
                    <a:gd name="T15" fmla="*/ 8 h 48"/>
                    <a:gd name="T16" fmla="*/ 0 w 32"/>
                    <a:gd name="T17" fmla="*/ 16 h 48"/>
                    <a:gd name="T18" fmla="*/ 6 w 32"/>
                    <a:gd name="T19" fmla="*/ 36 h 48"/>
                    <a:gd name="T20" fmla="*/ 12 w 32"/>
                    <a:gd name="T21" fmla="*/ 36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2" h="48">
                      <a:moveTo>
                        <a:pt x="12" y="36"/>
                      </a:moveTo>
                      <a:cubicBezTo>
                        <a:pt x="15" y="36"/>
                        <a:pt x="18" y="39"/>
                        <a:pt x="18" y="42"/>
                      </a:cubicBezTo>
                      <a:cubicBezTo>
                        <a:pt x="18" y="45"/>
                        <a:pt x="24" y="48"/>
                        <a:pt x="32" y="48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19" y="38"/>
                        <a:pt x="19" y="38"/>
                        <a:pt x="19" y="38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6" y="36"/>
                        <a:pt x="6" y="36"/>
                        <a:pt x="6" y="36"/>
                      </a:cubicBezTo>
                      <a:lnTo>
                        <a:pt x="12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0" name="Freeform 139"/>
                <p:cNvSpPr>
                  <a:spLocks/>
                </p:cNvSpPr>
                <p:nvPr/>
              </p:nvSpPr>
              <p:spPr bwMode="auto">
                <a:xfrm>
                  <a:off x="9334501" y="1098550"/>
                  <a:ext cx="119063" cy="179388"/>
                </a:xfrm>
                <a:custGeom>
                  <a:avLst/>
                  <a:gdLst>
                    <a:gd name="T0" fmla="*/ 14 w 32"/>
                    <a:gd name="T1" fmla="*/ 42 h 48"/>
                    <a:gd name="T2" fmla="*/ 20 w 32"/>
                    <a:gd name="T3" fmla="*/ 36 h 48"/>
                    <a:gd name="T4" fmla="*/ 26 w 32"/>
                    <a:gd name="T5" fmla="*/ 36 h 48"/>
                    <a:gd name="T6" fmla="*/ 32 w 32"/>
                    <a:gd name="T7" fmla="*/ 16 h 48"/>
                    <a:gd name="T8" fmla="*/ 28 w 32"/>
                    <a:gd name="T9" fmla="*/ 8 h 48"/>
                    <a:gd name="T10" fmla="*/ 22 w 32"/>
                    <a:gd name="T11" fmla="*/ 8 h 48"/>
                    <a:gd name="T12" fmla="*/ 13 w 32"/>
                    <a:gd name="T13" fmla="*/ 38 h 48"/>
                    <a:gd name="T14" fmla="*/ 16 w 32"/>
                    <a:gd name="T15" fmla="*/ 1 h 48"/>
                    <a:gd name="T16" fmla="*/ 4 w 32"/>
                    <a:gd name="T17" fmla="*/ 0 h 48"/>
                    <a:gd name="T18" fmla="*/ 0 w 32"/>
                    <a:gd name="T19" fmla="*/ 48 h 48"/>
                    <a:gd name="T20" fmla="*/ 14 w 32"/>
                    <a:gd name="T21" fmla="*/ 4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2" h="48">
                      <a:moveTo>
                        <a:pt x="14" y="42"/>
                      </a:moveTo>
                      <a:cubicBezTo>
                        <a:pt x="14" y="39"/>
                        <a:pt x="17" y="36"/>
                        <a:pt x="20" y="36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32" y="16"/>
                        <a:pt x="32" y="16"/>
                        <a:pt x="32" y="16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22" y="8"/>
                        <a:pt x="22" y="8"/>
                        <a:pt x="22" y="8"/>
                      </a:cubicBezTo>
                      <a:cubicBezTo>
                        <a:pt x="22" y="8"/>
                        <a:pt x="13" y="38"/>
                        <a:pt x="13" y="38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8" y="48"/>
                        <a:pt x="14" y="45"/>
                        <a:pt x="14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1" name="Freeform 140"/>
                <p:cNvSpPr>
                  <a:spLocks/>
                </p:cNvSpPr>
                <p:nvPr/>
              </p:nvSpPr>
              <p:spPr bwMode="auto">
                <a:xfrm>
                  <a:off x="9221788" y="1354138"/>
                  <a:ext cx="225425" cy="30163"/>
                </a:xfrm>
                <a:custGeom>
                  <a:avLst/>
                  <a:gdLst>
                    <a:gd name="T0" fmla="*/ 142 w 142"/>
                    <a:gd name="T1" fmla="*/ 0 h 19"/>
                    <a:gd name="T2" fmla="*/ 0 w 142"/>
                    <a:gd name="T3" fmla="*/ 0 h 19"/>
                    <a:gd name="T4" fmla="*/ 5 w 142"/>
                    <a:gd name="T5" fmla="*/ 19 h 19"/>
                    <a:gd name="T6" fmla="*/ 137 w 142"/>
                    <a:gd name="T7" fmla="*/ 19 h 19"/>
                    <a:gd name="T8" fmla="*/ 142 w 142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2" h="19">
                      <a:moveTo>
                        <a:pt x="142" y="0"/>
                      </a:moveTo>
                      <a:lnTo>
                        <a:pt x="0" y="0"/>
                      </a:lnTo>
                      <a:lnTo>
                        <a:pt x="5" y="19"/>
                      </a:lnTo>
                      <a:lnTo>
                        <a:pt x="137" y="1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2" name="Freeform 141"/>
                <p:cNvSpPr>
                  <a:spLocks/>
                </p:cNvSpPr>
                <p:nvPr/>
              </p:nvSpPr>
              <p:spPr bwMode="auto">
                <a:xfrm>
                  <a:off x="9199563" y="1247775"/>
                  <a:ext cx="269875" cy="90488"/>
                </a:xfrm>
                <a:custGeom>
                  <a:avLst/>
                  <a:gdLst>
                    <a:gd name="T0" fmla="*/ 72 w 72"/>
                    <a:gd name="T1" fmla="*/ 1 h 24"/>
                    <a:gd name="T2" fmla="*/ 70 w 72"/>
                    <a:gd name="T3" fmla="*/ 0 h 24"/>
                    <a:gd name="T4" fmla="*/ 56 w 72"/>
                    <a:gd name="T5" fmla="*/ 0 h 24"/>
                    <a:gd name="T6" fmla="*/ 54 w 72"/>
                    <a:gd name="T7" fmla="*/ 2 h 24"/>
                    <a:gd name="T8" fmla="*/ 18 w 72"/>
                    <a:gd name="T9" fmla="*/ 2 h 24"/>
                    <a:gd name="T10" fmla="*/ 16 w 72"/>
                    <a:gd name="T11" fmla="*/ 0 h 24"/>
                    <a:gd name="T12" fmla="*/ 2 w 72"/>
                    <a:gd name="T13" fmla="*/ 0 h 24"/>
                    <a:gd name="T14" fmla="*/ 0 w 72"/>
                    <a:gd name="T15" fmla="*/ 1 h 24"/>
                    <a:gd name="T16" fmla="*/ 0 w 72"/>
                    <a:gd name="T17" fmla="*/ 3 h 24"/>
                    <a:gd name="T18" fmla="*/ 5 w 72"/>
                    <a:gd name="T19" fmla="*/ 24 h 24"/>
                    <a:gd name="T20" fmla="*/ 67 w 72"/>
                    <a:gd name="T21" fmla="*/ 24 h 24"/>
                    <a:gd name="T22" fmla="*/ 72 w 72"/>
                    <a:gd name="T23" fmla="*/ 3 h 24"/>
                    <a:gd name="T24" fmla="*/ 72 w 72"/>
                    <a:gd name="T25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24">
                      <a:moveTo>
                        <a:pt x="72" y="1"/>
                      </a:moveTo>
                      <a:cubicBezTo>
                        <a:pt x="71" y="0"/>
                        <a:pt x="71" y="0"/>
                        <a:pt x="70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5" y="0"/>
                        <a:pt x="54" y="1"/>
                        <a:pt x="54" y="2"/>
                      </a:cubicBezTo>
                      <a:cubicBezTo>
                        <a:pt x="54" y="15"/>
                        <a:pt x="18" y="15"/>
                        <a:pt x="18" y="2"/>
                      </a:cubicBezTo>
                      <a:cubicBezTo>
                        <a:pt x="18" y="1"/>
                        <a:pt x="17" y="0"/>
                        <a:pt x="16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0" y="1"/>
                        <a:pt x="0" y="2"/>
                        <a:pt x="0" y="3"/>
                      </a:cubicBez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67" y="24"/>
                        <a:pt x="67" y="24"/>
                        <a:pt x="67" y="24"/>
                      </a:cubicBezTo>
                      <a:cubicBezTo>
                        <a:pt x="72" y="3"/>
                        <a:pt x="72" y="3"/>
                        <a:pt x="72" y="3"/>
                      </a:cubicBezTo>
                      <a:cubicBezTo>
                        <a:pt x="72" y="2"/>
                        <a:pt x="72" y="1"/>
                        <a:pt x="7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3" name="Freeform 142"/>
                <p:cNvSpPr>
                  <a:spLocks/>
                </p:cNvSpPr>
                <p:nvPr/>
              </p:nvSpPr>
              <p:spPr bwMode="auto">
                <a:xfrm>
                  <a:off x="9232901" y="1398588"/>
                  <a:ext cx="203200" cy="44450"/>
                </a:xfrm>
                <a:custGeom>
                  <a:avLst/>
                  <a:gdLst>
                    <a:gd name="T0" fmla="*/ 0 w 54"/>
                    <a:gd name="T1" fmla="*/ 0 h 12"/>
                    <a:gd name="T2" fmla="*/ 3 w 54"/>
                    <a:gd name="T3" fmla="*/ 11 h 12"/>
                    <a:gd name="T4" fmla="*/ 5 w 54"/>
                    <a:gd name="T5" fmla="*/ 12 h 12"/>
                    <a:gd name="T6" fmla="*/ 49 w 54"/>
                    <a:gd name="T7" fmla="*/ 12 h 12"/>
                    <a:gd name="T8" fmla="*/ 51 w 54"/>
                    <a:gd name="T9" fmla="*/ 11 h 12"/>
                    <a:gd name="T10" fmla="*/ 54 w 54"/>
                    <a:gd name="T11" fmla="*/ 0 h 12"/>
                    <a:gd name="T12" fmla="*/ 0 w 54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4" h="12">
                      <a:moveTo>
                        <a:pt x="0" y="0"/>
                      </a:move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4" y="12"/>
                        <a:pt x="5" y="12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50" y="12"/>
                        <a:pt x="51" y="11"/>
                        <a:pt x="51" y="11"/>
                      </a:cubicBezTo>
                      <a:cubicBezTo>
                        <a:pt x="54" y="0"/>
                        <a:pt x="54" y="0"/>
                        <a:pt x="5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grpSp>
            <p:nvGrpSpPr>
              <p:cNvPr id="12" name="Group 11"/>
              <p:cNvGrpSpPr/>
              <p:nvPr/>
            </p:nvGrpSpPr>
            <p:grpSpPr>
              <a:xfrm>
                <a:off x="3113375" y="-543702"/>
                <a:ext cx="2005712" cy="2560236"/>
                <a:chOff x="9199563" y="1098550"/>
                <a:chExt cx="269875" cy="344488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24" name="Freeform 138"/>
                <p:cNvSpPr>
                  <a:spLocks/>
                </p:cNvSpPr>
                <p:nvPr/>
              </p:nvSpPr>
              <p:spPr bwMode="auto">
                <a:xfrm>
                  <a:off x="9213851" y="1098550"/>
                  <a:ext cx="120650" cy="179388"/>
                </a:xfrm>
                <a:custGeom>
                  <a:avLst/>
                  <a:gdLst>
                    <a:gd name="T0" fmla="*/ 12 w 32"/>
                    <a:gd name="T1" fmla="*/ 36 h 48"/>
                    <a:gd name="T2" fmla="*/ 18 w 32"/>
                    <a:gd name="T3" fmla="*/ 42 h 48"/>
                    <a:gd name="T4" fmla="*/ 32 w 32"/>
                    <a:gd name="T5" fmla="*/ 48 h 48"/>
                    <a:gd name="T6" fmla="*/ 28 w 32"/>
                    <a:gd name="T7" fmla="*/ 0 h 48"/>
                    <a:gd name="T8" fmla="*/ 16 w 32"/>
                    <a:gd name="T9" fmla="*/ 1 h 48"/>
                    <a:gd name="T10" fmla="*/ 19 w 32"/>
                    <a:gd name="T11" fmla="*/ 38 h 48"/>
                    <a:gd name="T12" fmla="*/ 10 w 32"/>
                    <a:gd name="T13" fmla="*/ 8 h 48"/>
                    <a:gd name="T14" fmla="*/ 4 w 32"/>
                    <a:gd name="T15" fmla="*/ 8 h 48"/>
                    <a:gd name="T16" fmla="*/ 0 w 32"/>
                    <a:gd name="T17" fmla="*/ 16 h 48"/>
                    <a:gd name="T18" fmla="*/ 6 w 32"/>
                    <a:gd name="T19" fmla="*/ 36 h 48"/>
                    <a:gd name="T20" fmla="*/ 12 w 32"/>
                    <a:gd name="T21" fmla="*/ 36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2" h="48">
                      <a:moveTo>
                        <a:pt x="12" y="36"/>
                      </a:moveTo>
                      <a:cubicBezTo>
                        <a:pt x="15" y="36"/>
                        <a:pt x="18" y="39"/>
                        <a:pt x="18" y="42"/>
                      </a:cubicBezTo>
                      <a:cubicBezTo>
                        <a:pt x="18" y="45"/>
                        <a:pt x="24" y="48"/>
                        <a:pt x="32" y="48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19" y="38"/>
                        <a:pt x="19" y="38"/>
                        <a:pt x="19" y="38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6" y="36"/>
                        <a:pt x="6" y="36"/>
                        <a:pt x="6" y="36"/>
                      </a:cubicBezTo>
                      <a:lnTo>
                        <a:pt x="12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5" name="Freeform 139"/>
                <p:cNvSpPr>
                  <a:spLocks/>
                </p:cNvSpPr>
                <p:nvPr/>
              </p:nvSpPr>
              <p:spPr bwMode="auto">
                <a:xfrm>
                  <a:off x="9334501" y="1098550"/>
                  <a:ext cx="119063" cy="179388"/>
                </a:xfrm>
                <a:custGeom>
                  <a:avLst/>
                  <a:gdLst>
                    <a:gd name="T0" fmla="*/ 14 w 32"/>
                    <a:gd name="T1" fmla="*/ 42 h 48"/>
                    <a:gd name="T2" fmla="*/ 20 w 32"/>
                    <a:gd name="T3" fmla="*/ 36 h 48"/>
                    <a:gd name="T4" fmla="*/ 26 w 32"/>
                    <a:gd name="T5" fmla="*/ 36 h 48"/>
                    <a:gd name="T6" fmla="*/ 32 w 32"/>
                    <a:gd name="T7" fmla="*/ 16 h 48"/>
                    <a:gd name="T8" fmla="*/ 28 w 32"/>
                    <a:gd name="T9" fmla="*/ 8 h 48"/>
                    <a:gd name="T10" fmla="*/ 22 w 32"/>
                    <a:gd name="T11" fmla="*/ 8 h 48"/>
                    <a:gd name="T12" fmla="*/ 13 w 32"/>
                    <a:gd name="T13" fmla="*/ 38 h 48"/>
                    <a:gd name="T14" fmla="*/ 16 w 32"/>
                    <a:gd name="T15" fmla="*/ 1 h 48"/>
                    <a:gd name="T16" fmla="*/ 4 w 32"/>
                    <a:gd name="T17" fmla="*/ 0 h 48"/>
                    <a:gd name="T18" fmla="*/ 0 w 32"/>
                    <a:gd name="T19" fmla="*/ 48 h 48"/>
                    <a:gd name="T20" fmla="*/ 14 w 32"/>
                    <a:gd name="T21" fmla="*/ 4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2" h="48">
                      <a:moveTo>
                        <a:pt x="14" y="42"/>
                      </a:moveTo>
                      <a:cubicBezTo>
                        <a:pt x="14" y="39"/>
                        <a:pt x="17" y="36"/>
                        <a:pt x="20" y="36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32" y="16"/>
                        <a:pt x="32" y="16"/>
                        <a:pt x="32" y="16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22" y="8"/>
                        <a:pt x="22" y="8"/>
                        <a:pt x="22" y="8"/>
                      </a:cubicBezTo>
                      <a:cubicBezTo>
                        <a:pt x="22" y="8"/>
                        <a:pt x="13" y="38"/>
                        <a:pt x="13" y="38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8" y="48"/>
                        <a:pt x="14" y="45"/>
                        <a:pt x="14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6" name="Freeform 140"/>
                <p:cNvSpPr>
                  <a:spLocks/>
                </p:cNvSpPr>
                <p:nvPr/>
              </p:nvSpPr>
              <p:spPr bwMode="auto">
                <a:xfrm>
                  <a:off x="9221788" y="1354138"/>
                  <a:ext cx="225425" cy="30163"/>
                </a:xfrm>
                <a:custGeom>
                  <a:avLst/>
                  <a:gdLst>
                    <a:gd name="T0" fmla="*/ 142 w 142"/>
                    <a:gd name="T1" fmla="*/ 0 h 19"/>
                    <a:gd name="T2" fmla="*/ 0 w 142"/>
                    <a:gd name="T3" fmla="*/ 0 h 19"/>
                    <a:gd name="T4" fmla="*/ 5 w 142"/>
                    <a:gd name="T5" fmla="*/ 19 h 19"/>
                    <a:gd name="T6" fmla="*/ 137 w 142"/>
                    <a:gd name="T7" fmla="*/ 19 h 19"/>
                    <a:gd name="T8" fmla="*/ 142 w 142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2" h="19">
                      <a:moveTo>
                        <a:pt x="142" y="0"/>
                      </a:moveTo>
                      <a:lnTo>
                        <a:pt x="0" y="0"/>
                      </a:lnTo>
                      <a:lnTo>
                        <a:pt x="5" y="19"/>
                      </a:lnTo>
                      <a:lnTo>
                        <a:pt x="137" y="1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7" name="Freeform 141"/>
                <p:cNvSpPr>
                  <a:spLocks/>
                </p:cNvSpPr>
                <p:nvPr/>
              </p:nvSpPr>
              <p:spPr bwMode="auto">
                <a:xfrm>
                  <a:off x="9199563" y="1247775"/>
                  <a:ext cx="269875" cy="90488"/>
                </a:xfrm>
                <a:custGeom>
                  <a:avLst/>
                  <a:gdLst>
                    <a:gd name="T0" fmla="*/ 72 w 72"/>
                    <a:gd name="T1" fmla="*/ 1 h 24"/>
                    <a:gd name="T2" fmla="*/ 70 w 72"/>
                    <a:gd name="T3" fmla="*/ 0 h 24"/>
                    <a:gd name="T4" fmla="*/ 56 w 72"/>
                    <a:gd name="T5" fmla="*/ 0 h 24"/>
                    <a:gd name="T6" fmla="*/ 54 w 72"/>
                    <a:gd name="T7" fmla="*/ 2 h 24"/>
                    <a:gd name="T8" fmla="*/ 18 w 72"/>
                    <a:gd name="T9" fmla="*/ 2 h 24"/>
                    <a:gd name="T10" fmla="*/ 16 w 72"/>
                    <a:gd name="T11" fmla="*/ 0 h 24"/>
                    <a:gd name="T12" fmla="*/ 2 w 72"/>
                    <a:gd name="T13" fmla="*/ 0 h 24"/>
                    <a:gd name="T14" fmla="*/ 0 w 72"/>
                    <a:gd name="T15" fmla="*/ 1 h 24"/>
                    <a:gd name="T16" fmla="*/ 0 w 72"/>
                    <a:gd name="T17" fmla="*/ 3 h 24"/>
                    <a:gd name="T18" fmla="*/ 5 w 72"/>
                    <a:gd name="T19" fmla="*/ 24 h 24"/>
                    <a:gd name="T20" fmla="*/ 67 w 72"/>
                    <a:gd name="T21" fmla="*/ 24 h 24"/>
                    <a:gd name="T22" fmla="*/ 72 w 72"/>
                    <a:gd name="T23" fmla="*/ 3 h 24"/>
                    <a:gd name="T24" fmla="*/ 72 w 72"/>
                    <a:gd name="T25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24">
                      <a:moveTo>
                        <a:pt x="72" y="1"/>
                      </a:moveTo>
                      <a:cubicBezTo>
                        <a:pt x="71" y="0"/>
                        <a:pt x="71" y="0"/>
                        <a:pt x="70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5" y="0"/>
                        <a:pt x="54" y="1"/>
                        <a:pt x="54" y="2"/>
                      </a:cubicBezTo>
                      <a:cubicBezTo>
                        <a:pt x="54" y="15"/>
                        <a:pt x="18" y="15"/>
                        <a:pt x="18" y="2"/>
                      </a:cubicBezTo>
                      <a:cubicBezTo>
                        <a:pt x="18" y="1"/>
                        <a:pt x="17" y="0"/>
                        <a:pt x="16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0" y="1"/>
                        <a:pt x="0" y="2"/>
                        <a:pt x="0" y="3"/>
                      </a:cubicBez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67" y="24"/>
                        <a:pt x="67" y="24"/>
                        <a:pt x="67" y="24"/>
                      </a:cubicBezTo>
                      <a:cubicBezTo>
                        <a:pt x="72" y="3"/>
                        <a:pt x="72" y="3"/>
                        <a:pt x="72" y="3"/>
                      </a:cubicBezTo>
                      <a:cubicBezTo>
                        <a:pt x="72" y="2"/>
                        <a:pt x="72" y="1"/>
                        <a:pt x="7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8" name="Freeform 142"/>
                <p:cNvSpPr>
                  <a:spLocks/>
                </p:cNvSpPr>
                <p:nvPr/>
              </p:nvSpPr>
              <p:spPr bwMode="auto">
                <a:xfrm>
                  <a:off x="9232901" y="1398588"/>
                  <a:ext cx="203200" cy="44450"/>
                </a:xfrm>
                <a:custGeom>
                  <a:avLst/>
                  <a:gdLst>
                    <a:gd name="T0" fmla="*/ 0 w 54"/>
                    <a:gd name="T1" fmla="*/ 0 h 12"/>
                    <a:gd name="T2" fmla="*/ 3 w 54"/>
                    <a:gd name="T3" fmla="*/ 11 h 12"/>
                    <a:gd name="T4" fmla="*/ 5 w 54"/>
                    <a:gd name="T5" fmla="*/ 12 h 12"/>
                    <a:gd name="T6" fmla="*/ 49 w 54"/>
                    <a:gd name="T7" fmla="*/ 12 h 12"/>
                    <a:gd name="T8" fmla="*/ 51 w 54"/>
                    <a:gd name="T9" fmla="*/ 11 h 12"/>
                    <a:gd name="T10" fmla="*/ 54 w 54"/>
                    <a:gd name="T11" fmla="*/ 0 h 12"/>
                    <a:gd name="T12" fmla="*/ 0 w 54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4" h="12">
                      <a:moveTo>
                        <a:pt x="0" y="0"/>
                      </a:move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4" y="12"/>
                        <a:pt x="5" y="12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50" y="12"/>
                        <a:pt x="51" y="11"/>
                        <a:pt x="51" y="11"/>
                      </a:cubicBezTo>
                      <a:cubicBezTo>
                        <a:pt x="54" y="0"/>
                        <a:pt x="54" y="0"/>
                        <a:pt x="5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9635904" y="863287"/>
                <a:ext cx="2527322" cy="2516240"/>
                <a:chOff x="5554663" y="1082675"/>
                <a:chExt cx="361950" cy="360363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21" name="Freeform 53"/>
                <p:cNvSpPr>
                  <a:spLocks noEditPoints="1"/>
                </p:cNvSpPr>
                <p:nvPr/>
              </p:nvSpPr>
              <p:spPr bwMode="auto">
                <a:xfrm>
                  <a:off x="5554663" y="1330325"/>
                  <a:ext cx="361950" cy="60325"/>
                </a:xfrm>
                <a:custGeom>
                  <a:avLst/>
                  <a:gdLst>
                    <a:gd name="T0" fmla="*/ 86 w 96"/>
                    <a:gd name="T1" fmla="*/ 0 h 16"/>
                    <a:gd name="T2" fmla="*/ 10 w 96"/>
                    <a:gd name="T3" fmla="*/ 0 h 16"/>
                    <a:gd name="T4" fmla="*/ 0 w 96"/>
                    <a:gd name="T5" fmla="*/ 8 h 16"/>
                    <a:gd name="T6" fmla="*/ 10 w 96"/>
                    <a:gd name="T7" fmla="*/ 16 h 16"/>
                    <a:gd name="T8" fmla="*/ 86 w 96"/>
                    <a:gd name="T9" fmla="*/ 16 h 16"/>
                    <a:gd name="T10" fmla="*/ 96 w 96"/>
                    <a:gd name="T11" fmla="*/ 8 h 16"/>
                    <a:gd name="T12" fmla="*/ 86 w 96"/>
                    <a:gd name="T13" fmla="*/ 0 h 16"/>
                    <a:gd name="T14" fmla="*/ 85 w 96"/>
                    <a:gd name="T15" fmla="*/ 6 h 16"/>
                    <a:gd name="T16" fmla="*/ 73 w 96"/>
                    <a:gd name="T17" fmla="*/ 14 h 16"/>
                    <a:gd name="T18" fmla="*/ 72 w 96"/>
                    <a:gd name="T19" fmla="*/ 14 h 16"/>
                    <a:gd name="T20" fmla="*/ 71 w 96"/>
                    <a:gd name="T21" fmla="*/ 14 h 16"/>
                    <a:gd name="T22" fmla="*/ 47 w 96"/>
                    <a:gd name="T23" fmla="*/ 6 h 16"/>
                    <a:gd name="T24" fmla="*/ 46 w 96"/>
                    <a:gd name="T25" fmla="*/ 4 h 16"/>
                    <a:gd name="T26" fmla="*/ 48 w 96"/>
                    <a:gd name="T27" fmla="*/ 2 h 16"/>
                    <a:gd name="T28" fmla="*/ 84 w 96"/>
                    <a:gd name="T29" fmla="*/ 2 h 16"/>
                    <a:gd name="T30" fmla="*/ 86 w 96"/>
                    <a:gd name="T31" fmla="*/ 3 h 16"/>
                    <a:gd name="T32" fmla="*/ 85 w 96"/>
                    <a:gd name="T33" fmla="*/ 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6" h="16">
                      <a:moveTo>
                        <a:pt x="86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13"/>
                        <a:pt x="4" y="16"/>
                        <a:pt x="10" y="16"/>
                      </a:cubicBezTo>
                      <a:cubicBezTo>
                        <a:pt x="86" y="16"/>
                        <a:pt x="86" y="16"/>
                        <a:pt x="86" y="16"/>
                      </a:cubicBezTo>
                      <a:cubicBezTo>
                        <a:pt x="92" y="16"/>
                        <a:pt x="96" y="13"/>
                        <a:pt x="96" y="8"/>
                      </a:cubicBezTo>
                      <a:cubicBezTo>
                        <a:pt x="96" y="3"/>
                        <a:pt x="92" y="0"/>
                        <a:pt x="86" y="0"/>
                      </a:cubicBezTo>
                      <a:close/>
                      <a:moveTo>
                        <a:pt x="85" y="6"/>
                      </a:moveTo>
                      <a:cubicBezTo>
                        <a:pt x="73" y="14"/>
                        <a:pt x="73" y="14"/>
                        <a:pt x="73" y="14"/>
                      </a:cubicBezTo>
                      <a:cubicBezTo>
                        <a:pt x="73" y="14"/>
                        <a:pt x="72" y="14"/>
                        <a:pt x="72" y="14"/>
                      </a:cubicBezTo>
                      <a:cubicBezTo>
                        <a:pt x="72" y="14"/>
                        <a:pt x="72" y="14"/>
                        <a:pt x="71" y="14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6" y="6"/>
                        <a:pt x="46" y="5"/>
                        <a:pt x="46" y="4"/>
                      </a:cubicBezTo>
                      <a:cubicBezTo>
                        <a:pt x="46" y="3"/>
                        <a:pt x="47" y="2"/>
                        <a:pt x="48" y="2"/>
                      </a:cubicBezTo>
                      <a:cubicBezTo>
                        <a:pt x="84" y="2"/>
                        <a:pt x="84" y="2"/>
                        <a:pt x="84" y="2"/>
                      </a:cubicBezTo>
                      <a:cubicBezTo>
                        <a:pt x="85" y="2"/>
                        <a:pt x="86" y="3"/>
                        <a:pt x="86" y="3"/>
                      </a:cubicBezTo>
                      <a:cubicBezTo>
                        <a:pt x="86" y="4"/>
                        <a:pt x="86" y="5"/>
                        <a:pt x="85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2" name="Freeform 54"/>
                <p:cNvSpPr>
                  <a:spLocks/>
                </p:cNvSpPr>
                <p:nvPr/>
              </p:nvSpPr>
              <p:spPr bwMode="auto">
                <a:xfrm>
                  <a:off x="5584826" y="1398588"/>
                  <a:ext cx="301625" cy="44450"/>
                </a:xfrm>
                <a:custGeom>
                  <a:avLst/>
                  <a:gdLst>
                    <a:gd name="T0" fmla="*/ 78 w 80"/>
                    <a:gd name="T1" fmla="*/ 0 h 12"/>
                    <a:gd name="T2" fmla="*/ 2 w 80"/>
                    <a:gd name="T3" fmla="*/ 0 h 12"/>
                    <a:gd name="T4" fmla="*/ 0 w 80"/>
                    <a:gd name="T5" fmla="*/ 2 h 12"/>
                    <a:gd name="T6" fmla="*/ 0 w 80"/>
                    <a:gd name="T7" fmla="*/ 4 h 12"/>
                    <a:gd name="T8" fmla="*/ 10 w 80"/>
                    <a:gd name="T9" fmla="*/ 12 h 12"/>
                    <a:gd name="T10" fmla="*/ 70 w 80"/>
                    <a:gd name="T11" fmla="*/ 12 h 12"/>
                    <a:gd name="T12" fmla="*/ 80 w 80"/>
                    <a:gd name="T13" fmla="*/ 4 h 12"/>
                    <a:gd name="T14" fmla="*/ 80 w 80"/>
                    <a:gd name="T15" fmla="*/ 2 h 12"/>
                    <a:gd name="T16" fmla="*/ 78 w 80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0" h="12">
                      <a:moveTo>
                        <a:pt x="78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9"/>
                        <a:pt x="4" y="12"/>
                        <a:pt x="10" y="12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6" y="12"/>
                        <a:pt x="80" y="9"/>
                        <a:pt x="80" y="4"/>
                      </a:cubicBezTo>
                      <a:cubicBezTo>
                        <a:pt x="80" y="2"/>
                        <a:pt x="80" y="2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3" name="Freeform 55"/>
                <p:cNvSpPr>
                  <a:spLocks noEditPoints="1"/>
                </p:cNvSpPr>
                <p:nvPr/>
              </p:nvSpPr>
              <p:spPr bwMode="auto">
                <a:xfrm>
                  <a:off x="5554663" y="1082675"/>
                  <a:ext cx="361950" cy="241300"/>
                </a:xfrm>
                <a:custGeom>
                  <a:avLst/>
                  <a:gdLst>
                    <a:gd name="T0" fmla="*/ 96 w 96"/>
                    <a:gd name="T1" fmla="*/ 44 h 64"/>
                    <a:gd name="T2" fmla="*/ 88 w 96"/>
                    <a:gd name="T3" fmla="*/ 36 h 64"/>
                    <a:gd name="T4" fmla="*/ 48 w 96"/>
                    <a:gd name="T5" fmla="*/ 0 h 64"/>
                    <a:gd name="T6" fmla="*/ 8 w 96"/>
                    <a:gd name="T7" fmla="*/ 36 h 64"/>
                    <a:gd name="T8" fmla="*/ 0 w 96"/>
                    <a:gd name="T9" fmla="*/ 44 h 64"/>
                    <a:gd name="T10" fmla="*/ 2 w 96"/>
                    <a:gd name="T11" fmla="*/ 49 h 64"/>
                    <a:gd name="T12" fmla="*/ 0 w 96"/>
                    <a:gd name="T13" fmla="*/ 54 h 64"/>
                    <a:gd name="T14" fmla="*/ 10 w 96"/>
                    <a:gd name="T15" fmla="*/ 64 h 64"/>
                    <a:gd name="T16" fmla="*/ 86 w 96"/>
                    <a:gd name="T17" fmla="*/ 64 h 64"/>
                    <a:gd name="T18" fmla="*/ 96 w 96"/>
                    <a:gd name="T19" fmla="*/ 54 h 64"/>
                    <a:gd name="T20" fmla="*/ 94 w 96"/>
                    <a:gd name="T21" fmla="*/ 49 h 64"/>
                    <a:gd name="T22" fmla="*/ 96 w 96"/>
                    <a:gd name="T23" fmla="*/ 44 h 64"/>
                    <a:gd name="T24" fmla="*/ 68 w 96"/>
                    <a:gd name="T25" fmla="*/ 16 h 64"/>
                    <a:gd name="T26" fmla="*/ 70 w 96"/>
                    <a:gd name="T27" fmla="*/ 18 h 64"/>
                    <a:gd name="T28" fmla="*/ 68 w 96"/>
                    <a:gd name="T29" fmla="*/ 20 h 64"/>
                    <a:gd name="T30" fmla="*/ 66 w 96"/>
                    <a:gd name="T31" fmla="*/ 18 h 64"/>
                    <a:gd name="T32" fmla="*/ 68 w 96"/>
                    <a:gd name="T33" fmla="*/ 16 h 64"/>
                    <a:gd name="T34" fmla="*/ 58 w 96"/>
                    <a:gd name="T35" fmla="*/ 12 h 64"/>
                    <a:gd name="T36" fmla="*/ 60 w 96"/>
                    <a:gd name="T37" fmla="*/ 14 h 64"/>
                    <a:gd name="T38" fmla="*/ 58 w 96"/>
                    <a:gd name="T39" fmla="*/ 16 h 64"/>
                    <a:gd name="T40" fmla="*/ 56 w 96"/>
                    <a:gd name="T41" fmla="*/ 14 h 64"/>
                    <a:gd name="T42" fmla="*/ 58 w 96"/>
                    <a:gd name="T43" fmla="*/ 12 h 64"/>
                    <a:gd name="T44" fmla="*/ 48 w 96"/>
                    <a:gd name="T45" fmla="*/ 16 h 64"/>
                    <a:gd name="T46" fmla="*/ 50 w 96"/>
                    <a:gd name="T47" fmla="*/ 18 h 64"/>
                    <a:gd name="T48" fmla="*/ 48 w 96"/>
                    <a:gd name="T49" fmla="*/ 20 h 64"/>
                    <a:gd name="T50" fmla="*/ 46 w 96"/>
                    <a:gd name="T51" fmla="*/ 18 h 64"/>
                    <a:gd name="T52" fmla="*/ 48 w 96"/>
                    <a:gd name="T53" fmla="*/ 16 h 64"/>
                    <a:gd name="T54" fmla="*/ 38 w 96"/>
                    <a:gd name="T55" fmla="*/ 12 h 64"/>
                    <a:gd name="T56" fmla="*/ 40 w 96"/>
                    <a:gd name="T57" fmla="*/ 14 h 64"/>
                    <a:gd name="T58" fmla="*/ 38 w 96"/>
                    <a:gd name="T59" fmla="*/ 16 h 64"/>
                    <a:gd name="T60" fmla="*/ 36 w 96"/>
                    <a:gd name="T61" fmla="*/ 14 h 64"/>
                    <a:gd name="T62" fmla="*/ 38 w 96"/>
                    <a:gd name="T63" fmla="*/ 12 h 64"/>
                    <a:gd name="T64" fmla="*/ 28 w 96"/>
                    <a:gd name="T65" fmla="*/ 16 h 64"/>
                    <a:gd name="T66" fmla="*/ 30 w 96"/>
                    <a:gd name="T67" fmla="*/ 18 h 64"/>
                    <a:gd name="T68" fmla="*/ 28 w 96"/>
                    <a:gd name="T69" fmla="*/ 20 h 64"/>
                    <a:gd name="T70" fmla="*/ 26 w 96"/>
                    <a:gd name="T71" fmla="*/ 18 h 64"/>
                    <a:gd name="T72" fmla="*/ 28 w 96"/>
                    <a:gd name="T73" fmla="*/ 16 h 64"/>
                    <a:gd name="T74" fmla="*/ 86 w 96"/>
                    <a:gd name="T75" fmla="*/ 48 h 64"/>
                    <a:gd name="T76" fmla="*/ 81 w 96"/>
                    <a:gd name="T77" fmla="*/ 47 h 64"/>
                    <a:gd name="T78" fmla="*/ 80 w 96"/>
                    <a:gd name="T79" fmla="*/ 46 h 64"/>
                    <a:gd name="T80" fmla="*/ 78 w 96"/>
                    <a:gd name="T81" fmla="*/ 47 h 64"/>
                    <a:gd name="T82" fmla="*/ 70 w 96"/>
                    <a:gd name="T83" fmla="*/ 52 h 64"/>
                    <a:gd name="T84" fmla="*/ 62 w 96"/>
                    <a:gd name="T85" fmla="*/ 47 h 64"/>
                    <a:gd name="T86" fmla="*/ 60 w 96"/>
                    <a:gd name="T87" fmla="*/ 46 h 64"/>
                    <a:gd name="T88" fmla="*/ 58 w 96"/>
                    <a:gd name="T89" fmla="*/ 47 h 64"/>
                    <a:gd name="T90" fmla="*/ 48 w 96"/>
                    <a:gd name="T91" fmla="*/ 52 h 64"/>
                    <a:gd name="T92" fmla="*/ 38 w 96"/>
                    <a:gd name="T93" fmla="*/ 47 h 64"/>
                    <a:gd name="T94" fmla="*/ 36 w 96"/>
                    <a:gd name="T95" fmla="*/ 46 h 64"/>
                    <a:gd name="T96" fmla="*/ 34 w 96"/>
                    <a:gd name="T97" fmla="*/ 47 h 64"/>
                    <a:gd name="T98" fmla="*/ 26 w 96"/>
                    <a:gd name="T99" fmla="*/ 52 h 64"/>
                    <a:gd name="T100" fmla="*/ 18 w 96"/>
                    <a:gd name="T101" fmla="*/ 47 h 64"/>
                    <a:gd name="T102" fmla="*/ 16 w 96"/>
                    <a:gd name="T103" fmla="*/ 46 h 64"/>
                    <a:gd name="T104" fmla="*/ 15 w 96"/>
                    <a:gd name="T105" fmla="*/ 47 h 64"/>
                    <a:gd name="T106" fmla="*/ 10 w 96"/>
                    <a:gd name="T107" fmla="*/ 48 h 64"/>
                    <a:gd name="T108" fmla="*/ 4 w 96"/>
                    <a:gd name="T109" fmla="*/ 44 h 64"/>
                    <a:gd name="T110" fmla="*/ 10 w 96"/>
                    <a:gd name="T111" fmla="*/ 40 h 64"/>
                    <a:gd name="T112" fmla="*/ 86 w 96"/>
                    <a:gd name="T113" fmla="*/ 40 h 64"/>
                    <a:gd name="T114" fmla="*/ 92 w 96"/>
                    <a:gd name="T115" fmla="*/ 44 h 64"/>
                    <a:gd name="T116" fmla="*/ 86 w 96"/>
                    <a:gd name="T117" fmla="*/ 48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6" h="64">
                      <a:moveTo>
                        <a:pt x="96" y="44"/>
                      </a:moveTo>
                      <a:cubicBezTo>
                        <a:pt x="96" y="39"/>
                        <a:pt x="91" y="37"/>
                        <a:pt x="88" y="36"/>
                      </a:cubicBezTo>
                      <a:cubicBezTo>
                        <a:pt x="87" y="16"/>
                        <a:pt x="70" y="0"/>
                        <a:pt x="48" y="0"/>
                      </a:cubicBezTo>
                      <a:cubicBezTo>
                        <a:pt x="26" y="0"/>
                        <a:pt x="9" y="16"/>
                        <a:pt x="8" y="36"/>
                      </a:cubicBezTo>
                      <a:cubicBezTo>
                        <a:pt x="5" y="37"/>
                        <a:pt x="0" y="39"/>
                        <a:pt x="0" y="44"/>
                      </a:cubicBezTo>
                      <a:cubicBezTo>
                        <a:pt x="0" y="46"/>
                        <a:pt x="1" y="48"/>
                        <a:pt x="2" y="49"/>
                      </a:cubicBezTo>
                      <a:cubicBezTo>
                        <a:pt x="1" y="50"/>
                        <a:pt x="0" y="52"/>
                        <a:pt x="0" y="54"/>
                      </a:cubicBezTo>
                      <a:cubicBezTo>
                        <a:pt x="0" y="60"/>
                        <a:pt x="4" y="64"/>
                        <a:pt x="10" y="64"/>
                      </a:cubicBezTo>
                      <a:cubicBezTo>
                        <a:pt x="86" y="64"/>
                        <a:pt x="86" y="64"/>
                        <a:pt x="86" y="64"/>
                      </a:cubicBezTo>
                      <a:cubicBezTo>
                        <a:pt x="92" y="64"/>
                        <a:pt x="96" y="60"/>
                        <a:pt x="96" y="54"/>
                      </a:cubicBezTo>
                      <a:cubicBezTo>
                        <a:pt x="96" y="52"/>
                        <a:pt x="95" y="50"/>
                        <a:pt x="94" y="49"/>
                      </a:cubicBezTo>
                      <a:cubicBezTo>
                        <a:pt x="95" y="48"/>
                        <a:pt x="96" y="46"/>
                        <a:pt x="96" y="44"/>
                      </a:cubicBezTo>
                      <a:close/>
                      <a:moveTo>
                        <a:pt x="68" y="16"/>
                      </a:moveTo>
                      <a:cubicBezTo>
                        <a:pt x="69" y="16"/>
                        <a:pt x="70" y="17"/>
                        <a:pt x="70" y="18"/>
                      </a:cubicBezTo>
                      <a:cubicBezTo>
                        <a:pt x="70" y="19"/>
                        <a:pt x="69" y="20"/>
                        <a:pt x="68" y="20"/>
                      </a:cubicBezTo>
                      <a:cubicBezTo>
                        <a:pt x="67" y="20"/>
                        <a:pt x="66" y="19"/>
                        <a:pt x="66" y="18"/>
                      </a:cubicBezTo>
                      <a:cubicBezTo>
                        <a:pt x="66" y="17"/>
                        <a:pt x="67" y="16"/>
                        <a:pt x="68" y="16"/>
                      </a:cubicBezTo>
                      <a:close/>
                      <a:moveTo>
                        <a:pt x="58" y="12"/>
                      </a:moveTo>
                      <a:cubicBezTo>
                        <a:pt x="59" y="12"/>
                        <a:pt x="60" y="13"/>
                        <a:pt x="60" y="14"/>
                      </a:cubicBezTo>
                      <a:cubicBezTo>
                        <a:pt x="60" y="15"/>
                        <a:pt x="59" y="16"/>
                        <a:pt x="58" y="16"/>
                      </a:cubicBezTo>
                      <a:cubicBezTo>
                        <a:pt x="57" y="16"/>
                        <a:pt x="56" y="15"/>
                        <a:pt x="56" y="14"/>
                      </a:cubicBezTo>
                      <a:cubicBezTo>
                        <a:pt x="56" y="13"/>
                        <a:pt x="57" y="12"/>
                        <a:pt x="58" y="12"/>
                      </a:cubicBezTo>
                      <a:close/>
                      <a:moveTo>
                        <a:pt x="48" y="16"/>
                      </a:moveTo>
                      <a:cubicBezTo>
                        <a:pt x="49" y="16"/>
                        <a:pt x="50" y="17"/>
                        <a:pt x="50" y="18"/>
                      </a:cubicBezTo>
                      <a:cubicBezTo>
                        <a:pt x="50" y="19"/>
                        <a:pt x="49" y="20"/>
                        <a:pt x="48" y="20"/>
                      </a:cubicBezTo>
                      <a:cubicBezTo>
                        <a:pt x="47" y="20"/>
                        <a:pt x="46" y="19"/>
                        <a:pt x="46" y="18"/>
                      </a:cubicBezTo>
                      <a:cubicBezTo>
                        <a:pt x="46" y="17"/>
                        <a:pt x="47" y="16"/>
                        <a:pt x="48" y="16"/>
                      </a:cubicBezTo>
                      <a:close/>
                      <a:moveTo>
                        <a:pt x="38" y="12"/>
                      </a:moveTo>
                      <a:cubicBezTo>
                        <a:pt x="39" y="12"/>
                        <a:pt x="40" y="13"/>
                        <a:pt x="40" y="14"/>
                      </a:cubicBezTo>
                      <a:cubicBezTo>
                        <a:pt x="40" y="15"/>
                        <a:pt x="39" y="16"/>
                        <a:pt x="38" y="16"/>
                      </a:cubicBezTo>
                      <a:cubicBezTo>
                        <a:pt x="37" y="16"/>
                        <a:pt x="36" y="15"/>
                        <a:pt x="36" y="14"/>
                      </a:cubicBezTo>
                      <a:cubicBezTo>
                        <a:pt x="36" y="13"/>
                        <a:pt x="37" y="12"/>
                        <a:pt x="38" y="12"/>
                      </a:cubicBezTo>
                      <a:close/>
                      <a:moveTo>
                        <a:pt x="28" y="16"/>
                      </a:moveTo>
                      <a:cubicBezTo>
                        <a:pt x="29" y="16"/>
                        <a:pt x="30" y="17"/>
                        <a:pt x="30" y="18"/>
                      </a:cubicBezTo>
                      <a:cubicBezTo>
                        <a:pt x="30" y="19"/>
                        <a:pt x="29" y="20"/>
                        <a:pt x="28" y="20"/>
                      </a:cubicBezTo>
                      <a:cubicBezTo>
                        <a:pt x="27" y="20"/>
                        <a:pt x="26" y="19"/>
                        <a:pt x="26" y="18"/>
                      </a:cubicBezTo>
                      <a:cubicBezTo>
                        <a:pt x="26" y="17"/>
                        <a:pt x="27" y="16"/>
                        <a:pt x="28" y="16"/>
                      </a:cubicBezTo>
                      <a:close/>
                      <a:moveTo>
                        <a:pt x="86" y="48"/>
                      </a:moveTo>
                      <a:cubicBezTo>
                        <a:pt x="84" y="48"/>
                        <a:pt x="82" y="47"/>
                        <a:pt x="81" y="47"/>
                      </a:cubicBezTo>
                      <a:cubicBezTo>
                        <a:pt x="81" y="46"/>
                        <a:pt x="80" y="46"/>
                        <a:pt x="80" y="46"/>
                      </a:cubicBezTo>
                      <a:cubicBezTo>
                        <a:pt x="79" y="46"/>
                        <a:pt x="79" y="47"/>
                        <a:pt x="78" y="47"/>
                      </a:cubicBezTo>
                      <a:cubicBezTo>
                        <a:pt x="77" y="49"/>
                        <a:pt x="75" y="52"/>
                        <a:pt x="70" y="52"/>
                      </a:cubicBezTo>
                      <a:cubicBezTo>
                        <a:pt x="66" y="52"/>
                        <a:pt x="63" y="51"/>
                        <a:pt x="62" y="47"/>
                      </a:cubicBezTo>
                      <a:cubicBezTo>
                        <a:pt x="62" y="46"/>
                        <a:pt x="61" y="46"/>
                        <a:pt x="60" y="46"/>
                      </a:cubicBezTo>
                      <a:cubicBezTo>
                        <a:pt x="59" y="46"/>
                        <a:pt x="58" y="46"/>
                        <a:pt x="58" y="47"/>
                      </a:cubicBezTo>
                      <a:cubicBezTo>
                        <a:pt x="57" y="51"/>
                        <a:pt x="52" y="52"/>
                        <a:pt x="48" y="52"/>
                      </a:cubicBezTo>
                      <a:cubicBezTo>
                        <a:pt x="44" y="52"/>
                        <a:pt x="39" y="51"/>
                        <a:pt x="38" y="47"/>
                      </a:cubicBezTo>
                      <a:cubicBezTo>
                        <a:pt x="38" y="46"/>
                        <a:pt x="37" y="46"/>
                        <a:pt x="36" y="46"/>
                      </a:cubicBezTo>
                      <a:cubicBezTo>
                        <a:pt x="35" y="46"/>
                        <a:pt x="34" y="46"/>
                        <a:pt x="34" y="47"/>
                      </a:cubicBezTo>
                      <a:cubicBezTo>
                        <a:pt x="33" y="51"/>
                        <a:pt x="30" y="52"/>
                        <a:pt x="26" y="52"/>
                      </a:cubicBezTo>
                      <a:cubicBezTo>
                        <a:pt x="21" y="52"/>
                        <a:pt x="19" y="49"/>
                        <a:pt x="18" y="47"/>
                      </a:cubicBezTo>
                      <a:cubicBezTo>
                        <a:pt x="17" y="47"/>
                        <a:pt x="17" y="46"/>
                        <a:pt x="16" y="46"/>
                      </a:cubicBezTo>
                      <a:cubicBezTo>
                        <a:pt x="16" y="46"/>
                        <a:pt x="15" y="46"/>
                        <a:pt x="15" y="47"/>
                      </a:cubicBezTo>
                      <a:cubicBezTo>
                        <a:pt x="14" y="47"/>
                        <a:pt x="12" y="48"/>
                        <a:pt x="10" y="48"/>
                      </a:cubicBezTo>
                      <a:cubicBezTo>
                        <a:pt x="4" y="48"/>
                        <a:pt x="4" y="45"/>
                        <a:pt x="4" y="44"/>
                      </a:cubicBezTo>
                      <a:cubicBezTo>
                        <a:pt x="4" y="42"/>
                        <a:pt x="8" y="40"/>
                        <a:pt x="10" y="40"/>
                      </a:cubicBezTo>
                      <a:cubicBezTo>
                        <a:pt x="86" y="40"/>
                        <a:pt x="86" y="40"/>
                        <a:pt x="86" y="40"/>
                      </a:cubicBezTo>
                      <a:cubicBezTo>
                        <a:pt x="88" y="40"/>
                        <a:pt x="92" y="42"/>
                        <a:pt x="92" y="44"/>
                      </a:cubicBezTo>
                      <a:cubicBezTo>
                        <a:pt x="92" y="45"/>
                        <a:pt x="92" y="48"/>
                        <a:pt x="86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 rot="11142038">
                <a:off x="7102844" y="-1362002"/>
                <a:ext cx="2123695" cy="2678219"/>
                <a:chOff x="7748588" y="1082675"/>
                <a:chExt cx="285750" cy="360363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19" name="Freeform 56"/>
                <p:cNvSpPr>
                  <a:spLocks noEditPoints="1"/>
                </p:cNvSpPr>
                <p:nvPr/>
              </p:nvSpPr>
              <p:spPr bwMode="auto">
                <a:xfrm>
                  <a:off x="7748588" y="1157288"/>
                  <a:ext cx="285750" cy="285750"/>
                </a:xfrm>
                <a:custGeom>
                  <a:avLst/>
                  <a:gdLst>
                    <a:gd name="T0" fmla="*/ 65 w 76"/>
                    <a:gd name="T1" fmla="*/ 11 h 76"/>
                    <a:gd name="T2" fmla="*/ 62 w 76"/>
                    <a:gd name="T3" fmla="*/ 11 h 76"/>
                    <a:gd name="T4" fmla="*/ 40 w 76"/>
                    <a:gd name="T5" fmla="*/ 33 h 76"/>
                    <a:gd name="T6" fmla="*/ 40 w 76"/>
                    <a:gd name="T7" fmla="*/ 2 h 76"/>
                    <a:gd name="T8" fmla="*/ 38 w 76"/>
                    <a:gd name="T9" fmla="*/ 0 h 76"/>
                    <a:gd name="T10" fmla="*/ 0 w 76"/>
                    <a:gd name="T11" fmla="*/ 38 h 76"/>
                    <a:gd name="T12" fmla="*/ 38 w 76"/>
                    <a:gd name="T13" fmla="*/ 76 h 76"/>
                    <a:gd name="T14" fmla="*/ 76 w 76"/>
                    <a:gd name="T15" fmla="*/ 38 h 76"/>
                    <a:gd name="T16" fmla="*/ 65 w 76"/>
                    <a:gd name="T17" fmla="*/ 11 h 76"/>
                    <a:gd name="T18" fmla="*/ 53 w 76"/>
                    <a:gd name="T19" fmla="*/ 23 h 76"/>
                    <a:gd name="T20" fmla="*/ 54 w 76"/>
                    <a:gd name="T21" fmla="*/ 24 h 76"/>
                    <a:gd name="T22" fmla="*/ 54 w 76"/>
                    <a:gd name="T23" fmla="*/ 30 h 76"/>
                    <a:gd name="T24" fmla="*/ 48 w 76"/>
                    <a:gd name="T25" fmla="*/ 30 h 76"/>
                    <a:gd name="T26" fmla="*/ 47 w 76"/>
                    <a:gd name="T27" fmla="*/ 29 h 76"/>
                    <a:gd name="T28" fmla="*/ 53 w 76"/>
                    <a:gd name="T29" fmla="*/ 23 h 76"/>
                    <a:gd name="T30" fmla="*/ 60 w 76"/>
                    <a:gd name="T31" fmla="*/ 42 h 76"/>
                    <a:gd name="T32" fmla="*/ 54 w 76"/>
                    <a:gd name="T33" fmla="*/ 48 h 76"/>
                    <a:gd name="T34" fmla="*/ 48 w 76"/>
                    <a:gd name="T35" fmla="*/ 42 h 76"/>
                    <a:gd name="T36" fmla="*/ 54 w 76"/>
                    <a:gd name="T37" fmla="*/ 36 h 76"/>
                    <a:gd name="T38" fmla="*/ 60 w 76"/>
                    <a:gd name="T39" fmla="*/ 42 h 76"/>
                    <a:gd name="T40" fmla="*/ 40 w 76"/>
                    <a:gd name="T41" fmla="*/ 48 h 76"/>
                    <a:gd name="T42" fmla="*/ 46 w 76"/>
                    <a:gd name="T43" fmla="*/ 54 h 76"/>
                    <a:gd name="T44" fmla="*/ 40 w 76"/>
                    <a:gd name="T45" fmla="*/ 60 h 76"/>
                    <a:gd name="T46" fmla="*/ 34 w 76"/>
                    <a:gd name="T47" fmla="*/ 54 h 76"/>
                    <a:gd name="T48" fmla="*/ 40 w 76"/>
                    <a:gd name="T49" fmla="*/ 48 h 76"/>
                    <a:gd name="T50" fmla="*/ 28 w 76"/>
                    <a:gd name="T51" fmla="*/ 30 h 76"/>
                    <a:gd name="T52" fmla="*/ 22 w 76"/>
                    <a:gd name="T53" fmla="*/ 24 h 76"/>
                    <a:gd name="T54" fmla="*/ 28 w 76"/>
                    <a:gd name="T55" fmla="*/ 18 h 76"/>
                    <a:gd name="T56" fmla="*/ 34 w 76"/>
                    <a:gd name="T57" fmla="*/ 24 h 76"/>
                    <a:gd name="T58" fmla="*/ 28 w 76"/>
                    <a:gd name="T59" fmla="*/ 30 h 76"/>
                    <a:gd name="T60" fmla="*/ 30 w 76"/>
                    <a:gd name="T61" fmla="*/ 42 h 76"/>
                    <a:gd name="T62" fmla="*/ 24 w 76"/>
                    <a:gd name="T63" fmla="*/ 48 h 76"/>
                    <a:gd name="T64" fmla="*/ 18 w 76"/>
                    <a:gd name="T65" fmla="*/ 42 h 76"/>
                    <a:gd name="T66" fmla="*/ 24 w 76"/>
                    <a:gd name="T67" fmla="*/ 36 h 76"/>
                    <a:gd name="T68" fmla="*/ 30 w 76"/>
                    <a:gd name="T69" fmla="*/ 42 h 76"/>
                    <a:gd name="T70" fmla="*/ 38 w 76"/>
                    <a:gd name="T71" fmla="*/ 72 h 76"/>
                    <a:gd name="T72" fmla="*/ 4 w 76"/>
                    <a:gd name="T73" fmla="*/ 38 h 76"/>
                    <a:gd name="T74" fmla="*/ 36 w 76"/>
                    <a:gd name="T75" fmla="*/ 4 h 76"/>
                    <a:gd name="T76" fmla="*/ 36 w 76"/>
                    <a:gd name="T77" fmla="*/ 10 h 76"/>
                    <a:gd name="T78" fmla="*/ 10 w 76"/>
                    <a:gd name="T79" fmla="*/ 38 h 76"/>
                    <a:gd name="T80" fmla="*/ 38 w 76"/>
                    <a:gd name="T81" fmla="*/ 66 h 76"/>
                    <a:gd name="T82" fmla="*/ 66 w 76"/>
                    <a:gd name="T83" fmla="*/ 38 h 76"/>
                    <a:gd name="T84" fmla="*/ 59 w 76"/>
                    <a:gd name="T85" fmla="*/ 20 h 76"/>
                    <a:gd name="T86" fmla="*/ 63 w 76"/>
                    <a:gd name="T87" fmla="*/ 15 h 76"/>
                    <a:gd name="T88" fmla="*/ 72 w 76"/>
                    <a:gd name="T89" fmla="*/ 38 h 76"/>
                    <a:gd name="T90" fmla="*/ 38 w 76"/>
                    <a:gd name="T91" fmla="*/ 7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6" h="76">
                      <a:moveTo>
                        <a:pt x="65" y="11"/>
                      </a:moveTo>
                      <a:cubicBezTo>
                        <a:pt x="64" y="10"/>
                        <a:pt x="63" y="10"/>
                        <a:pt x="62" y="11"/>
                      </a:cubicBezTo>
                      <a:cubicBezTo>
                        <a:pt x="40" y="33"/>
                        <a:pt x="40" y="33"/>
                        <a:pt x="40" y="33"/>
                      </a:cubicBezTo>
                      <a:cubicBezTo>
                        <a:pt x="40" y="2"/>
                        <a:pt x="40" y="2"/>
                        <a:pt x="40" y="2"/>
                      </a:cubicBezTo>
                      <a:cubicBezTo>
                        <a:pt x="40" y="1"/>
                        <a:pt x="39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59"/>
                        <a:pt x="17" y="76"/>
                        <a:pt x="38" y="76"/>
                      </a:cubicBezTo>
                      <a:cubicBezTo>
                        <a:pt x="59" y="76"/>
                        <a:pt x="76" y="59"/>
                        <a:pt x="76" y="38"/>
                      </a:cubicBezTo>
                      <a:cubicBezTo>
                        <a:pt x="76" y="28"/>
                        <a:pt x="72" y="18"/>
                        <a:pt x="65" y="11"/>
                      </a:cubicBezTo>
                      <a:close/>
                      <a:moveTo>
                        <a:pt x="53" y="23"/>
                      </a:move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6" y="26"/>
                        <a:pt x="56" y="28"/>
                        <a:pt x="54" y="30"/>
                      </a:cubicBezTo>
                      <a:cubicBezTo>
                        <a:pt x="52" y="32"/>
                        <a:pt x="50" y="32"/>
                        <a:pt x="48" y="30"/>
                      </a:cubicBezTo>
                      <a:cubicBezTo>
                        <a:pt x="47" y="29"/>
                        <a:pt x="47" y="29"/>
                        <a:pt x="47" y="29"/>
                      </a:cubicBezTo>
                      <a:lnTo>
                        <a:pt x="53" y="23"/>
                      </a:lnTo>
                      <a:close/>
                      <a:moveTo>
                        <a:pt x="60" y="42"/>
                      </a:moveTo>
                      <a:cubicBezTo>
                        <a:pt x="60" y="45"/>
                        <a:pt x="57" y="48"/>
                        <a:pt x="54" y="48"/>
                      </a:cubicBezTo>
                      <a:cubicBezTo>
                        <a:pt x="51" y="48"/>
                        <a:pt x="48" y="45"/>
                        <a:pt x="48" y="42"/>
                      </a:cubicBezTo>
                      <a:cubicBezTo>
                        <a:pt x="48" y="39"/>
                        <a:pt x="51" y="36"/>
                        <a:pt x="54" y="36"/>
                      </a:cubicBezTo>
                      <a:cubicBezTo>
                        <a:pt x="57" y="36"/>
                        <a:pt x="60" y="39"/>
                        <a:pt x="60" y="42"/>
                      </a:cubicBezTo>
                      <a:close/>
                      <a:moveTo>
                        <a:pt x="40" y="48"/>
                      </a:moveTo>
                      <a:cubicBezTo>
                        <a:pt x="43" y="48"/>
                        <a:pt x="46" y="51"/>
                        <a:pt x="46" y="54"/>
                      </a:cubicBezTo>
                      <a:cubicBezTo>
                        <a:pt x="46" y="57"/>
                        <a:pt x="43" y="60"/>
                        <a:pt x="40" y="60"/>
                      </a:cubicBezTo>
                      <a:cubicBezTo>
                        <a:pt x="37" y="60"/>
                        <a:pt x="34" y="57"/>
                        <a:pt x="34" y="54"/>
                      </a:cubicBezTo>
                      <a:cubicBezTo>
                        <a:pt x="34" y="51"/>
                        <a:pt x="37" y="48"/>
                        <a:pt x="40" y="48"/>
                      </a:cubicBezTo>
                      <a:close/>
                      <a:moveTo>
                        <a:pt x="28" y="30"/>
                      </a:moveTo>
                      <a:cubicBezTo>
                        <a:pt x="25" y="30"/>
                        <a:pt x="22" y="27"/>
                        <a:pt x="22" y="24"/>
                      </a:cubicBezTo>
                      <a:cubicBezTo>
                        <a:pt x="22" y="21"/>
                        <a:pt x="25" y="18"/>
                        <a:pt x="28" y="18"/>
                      </a:cubicBezTo>
                      <a:cubicBezTo>
                        <a:pt x="31" y="18"/>
                        <a:pt x="34" y="21"/>
                        <a:pt x="34" y="24"/>
                      </a:cubicBezTo>
                      <a:cubicBezTo>
                        <a:pt x="34" y="27"/>
                        <a:pt x="31" y="30"/>
                        <a:pt x="28" y="30"/>
                      </a:cubicBezTo>
                      <a:close/>
                      <a:moveTo>
                        <a:pt x="30" y="42"/>
                      </a:moveTo>
                      <a:cubicBezTo>
                        <a:pt x="30" y="45"/>
                        <a:pt x="27" y="48"/>
                        <a:pt x="24" y="48"/>
                      </a:cubicBezTo>
                      <a:cubicBezTo>
                        <a:pt x="21" y="48"/>
                        <a:pt x="18" y="45"/>
                        <a:pt x="18" y="42"/>
                      </a:cubicBezTo>
                      <a:cubicBezTo>
                        <a:pt x="18" y="39"/>
                        <a:pt x="21" y="36"/>
                        <a:pt x="24" y="36"/>
                      </a:cubicBezTo>
                      <a:cubicBezTo>
                        <a:pt x="27" y="36"/>
                        <a:pt x="30" y="39"/>
                        <a:pt x="30" y="42"/>
                      </a:cubicBezTo>
                      <a:close/>
                      <a:moveTo>
                        <a:pt x="38" y="72"/>
                      </a:moveTo>
                      <a:cubicBezTo>
                        <a:pt x="19" y="72"/>
                        <a:pt x="4" y="57"/>
                        <a:pt x="4" y="38"/>
                      </a:cubicBezTo>
                      <a:cubicBezTo>
                        <a:pt x="4" y="20"/>
                        <a:pt x="18" y="5"/>
                        <a:pt x="36" y="4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21" y="11"/>
                        <a:pt x="10" y="23"/>
                        <a:pt x="10" y="38"/>
                      </a:cubicBezTo>
                      <a:cubicBezTo>
                        <a:pt x="10" y="53"/>
                        <a:pt x="23" y="66"/>
                        <a:pt x="38" y="66"/>
                      </a:cubicBezTo>
                      <a:cubicBezTo>
                        <a:pt x="53" y="66"/>
                        <a:pt x="66" y="53"/>
                        <a:pt x="66" y="38"/>
                      </a:cubicBezTo>
                      <a:cubicBezTo>
                        <a:pt x="66" y="31"/>
                        <a:pt x="63" y="25"/>
                        <a:pt x="59" y="20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9" y="22"/>
                        <a:pt x="72" y="30"/>
                        <a:pt x="72" y="38"/>
                      </a:cubicBezTo>
                      <a:cubicBezTo>
                        <a:pt x="72" y="57"/>
                        <a:pt x="57" y="72"/>
                        <a:pt x="38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0" name="Freeform 57"/>
                <p:cNvSpPr>
                  <a:spLocks noEditPoints="1"/>
                </p:cNvSpPr>
                <p:nvPr/>
              </p:nvSpPr>
              <p:spPr bwMode="auto">
                <a:xfrm>
                  <a:off x="7913688" y="1082675"/>
                  <a:ext cx="109538" cy="150813"/>
                </a:xfrm>
                <a:custGeom>
                  <a:avLst/>
                  <a:gdLst>
                    <a:gd name="T0" fmla="*/ 1 w 29"/>
                    <a:gd name="T1" fmla="*/ 40 h 40"/>
                    <a:gd name="T2" fmla="*/ 3 w 29"/>
                    <a:gd name="T3" fmla="*/ 39 h 40"/>
                    <a:gd name="T4" fmla="*/ 29 w 29"/>
                    <a:gd name="T5" fmla="*/ 13 h 40"/>
                    <a:gd name="T6" fmla="*/ 29 w 29"/>
                    <a:gd name="T7" fmla="*/ 12 h 40"/>
                    <a:gd name="T8" fmla="*/ 29 w 29"/>
                    <a:gd name="T9" fmla="*/ 11 h 40"/>
                    <a:gd name="T10" fmla="*/ 2 w 29"/>
                    <a:gd name="T11" fmla="*/ 0 h 40"/>
                    <a:gd name="T12" fmla="*/ 0 w 29"/>
                    <a:gd name="T13" fmla="*/ 2 h 40"/>
                    <a:gd name="T14" fmla="*/ 0 w 29"/>
                    <a:gd name="T15" fmla="*/ 10 h 40"/>
                    <a:gd name="T16" fmla="*/ 0 w 29"/>
                    <a:gd name="T17" fmla="*/ 38 h 40"/>
                    <a:gd name="T18" fmla="*/ 1 w 29"/>
                    <a:gd name="T19" fmla="*/ 40 h 40"/>
                    <a:gd name="T20" fmla="*/ 11 w 29"/>
                    <a:gd name="T21" fmla="*/ 29 h 40"/>
                    <a:gd name="T22" fmla="*/ 10 w 29"/>
                    <a:gd name="T23" fmla="*/ 28 h 40"/>
                    <a:gd name="T24" fmla="*/ 10 w 29"/>
                    <a:gd name="T25" fmla="*/ 22 h 40"/>
                    <a:gd name="T26" fmla="*/ 16 w 29"/>
                    <a:gd name="T27" fmla="*/ 22 h 40"/>
                    <a:gd name="T28" fmla="*/ 17 w 29"/>
                    <a:gd name="T29" fmla="*/ 23 h 40"/>
                    <a:gd name="T30" fmla="*/ 11 w 29"/>
                    <a:gd name="T31" fmla="*/ 29 h 40"/>
                    <a:gd name="T32" fmla="*/ 4 w 29"/>
                    <a:gd name="T33" fmla="*/ 4 h 40"/>
                    <a:gd name="T34" fmla="*/ 25 w 29"/>
                    <a:gd name="T35" fmla="*/ 12 h 40"/>
                    <a:gd name="T36" fmla="*/ 22 w 29"/>
                    <a:gd name="T37" fmla="*/ 15 h 40"/>
                    <a:gd name="T38" fmla="*/ 4 w 29"/>
                    <a:gd name="T39" fmla="*/ 8 h 40"/>
                    <a:gd name="T40" fmla="*/ 4 w 29"/>
                    <a:gd name="T41" fmla="*/ 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9" h="40">
                      <a:moveTo>
                        <a:pt x="1" y="40"/>
                      </a:moveTo>
                      <a:cubicBezTo>
                        <a:pt x="2" y="40"/>
                        <a:pt x="3" y="40"/>
                        <a:pt x="3" y="39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29" y="13"/>
                        <a:pt x="29" y="13"/>
                        <a:pt x="29" y="12"/>
                      </a:cubicBezTo>
                      <a:cubicBezTo>
                        <a:pt x="29" y="11"/>
                        <a:pt x="29" y="11"/>
                        <a:pt x="29" y="11"/>
                      </a:cubicBezTo>
                      <a:cubicBezTo>
                        <a:pt x="21" y="4"/>
                        <a:pt x="1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0"/>
                        <a:pt x="1" y="40"/>
                      </a:cubicBezTo>
                      <a:close/>
                      <a:moveTo>
                        <a:pt x="11" y="29"/>
                      </a:move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8" y="26"/>
                        <a:pt x="8" y="24"/>
                        <a:pt x="10" y="22"/>
                      </a:cubicBezTo>
                      <a:cubicBezTo>
                        <a:pt x="11" y="20"/>
                        <a:pt x="14" y="20"/>
                        <a:pt x="16" y="22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lnTo>
                        <a:pt x="11" y="29"/>
                      </a:lnTo>
                      <a:close/>
                      <a:moveTo>
                        <a:pt x="4" y="4"/>
                      </a:moveTo>
                      <a:cubicBezTo>
                        <a:pt x="12" y="5"/>
                        <a:pt x="19" y="7"/>
                        <a:pt x="25" y="12"/>
                      </a:cubicBezTo>
                      <a:cubicBezTo>
                        <a:pt x="22" y="15"/>
                        <a:pt x="22" y="15"/>
                        <a:pt x="22" y="15"/>
                      </a:cubicBezTo>
                      <a:cubicBezTo>
                        <a:pt x="17" y="11"/>
                        <a:pt x="11" y="8"/>
                        <a:pt x="4" y="8"/>
                      </a:cubicBez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grpSp>
            <p:nvGrpSpPr>
              <p:cNvPr id="15" name="Group 14"/>
              <p:cNvGrpSpPr/>
              <p:nvPr/>
            </p:nvGrpSpPr>
            <p:grpSpPr>
              <a:xfrm>
                <a:off x="-870911" y="-1306630"/>
                <a:ext cx="2527322" cy="2516240"/>
                <a:chOff x="5554663" y="1082675"/>
                <a:chExt cx="361950" cy="360363"/>
              </a:xfrm>
              <a:solidFill>
                <a:schemeClr val="bg1">
                  <a:alpha val="12000"/>
                </a:schemeClr>
              </a:solidFill>
            </p:grpSpPr>
            <p:sp>
              <p:nvSpPr>
                <p:cNvPr id="16" name="Freeform 53"/>
                <p:cNvSpPr>
                  <a:spLocks noEditPoints="1"/>
                </p:cNvSpPr>
                <p:nvPr/>
              </p:nvSpPr>
              <p:spPr bwMode="auto">
                <a:xfrm>
                  <a:off x="5554663" y="1330325"/>
                  <a:ext cx="361950" cy="60325"/>
                </a:xfrm>
                <a:custGeom>
                  <a:avLst/>
                  <a:gdLst>
                    <a:gd name="T0" fmla="*/ 86 w 96"/>
                    <a:gd name="T1" fmla="*/ 0 h 16"/>
                    <a:gd name="T2" fmla="*/ 10 w 96"/>
                    <a:gd name="T3" fmla="*/ 0 h 16"/>
                    <a:gd name="T4" fmla="*/ 0 w 96"/>
                    <a:gd name="T5" fmla="*/ 8 h 16"/>
                    <a:gd name="T6" fmla="*/ 10 w 96"/>
                    <a:gd name="T7" fmla="*/ 16 h 16"/>
                    <a:gd name="T8" fmla="*/ 86 w 96"/>
                    <a:gd name="T9" fmla="*/ 16 h 16"/>
                    <a:gd name="T10" fmla="*/ 96 w 96"/>
                    <a:gd name="T11" fmla="*/ 8 h 16"/>
                    <a:gd name="T12" fmla="*/ 86 w 96"/>
                    <a:gd name="T13" fmla="*/ 0 h 16"/>
                    <a:gd name="T14" fmla="*/ 85 w 96"/>
                    <a:gd name="T15" fmla="*/ 6 h 16"/>
                    <a:gd name="T16" fmla="*/ 73 w 96"/>
                    <a:gd name="T17" fmla="*/ 14 h 16"/>
                    <a:gd name="T18" fmla="*/ 72 w 96"/>
                    <a:gd name="T19" fmla="*/ 14 h 16"/>
                    <a:gd name="T20" fmla="*/ 71 w 96"/>
                    <a:gd name="T21" fmla="*/ 14 h 16"/>
                    <a:gd name="T22" fmla="*/ 47 w 96"/>
                    <a:gd name="T23" fmla="*/ 6 h 16"/>
                    <a:gd name="T24" fmla="*/ 46 w 96"/>
                    <a:gd name="T25" fmla="*/ 4 h 16"/>
                    <a:gd name="T26" fmla="*/ 48 w 96"/>
                    <a:gd name="T27" fmla="*/ 2 h 16"/>
                    <a:gd name="T28" fmla="*/ 84 w 96"/>
                    <a:gd name="T29" fmla="*/ 2 h 16"/>
                    <a:gd name="T30" fmla="*/ 86 w 96"/>
                    <a:gd name="T31" fmla="*/ 3 h 16"/>
                    <a:gd name="T32" fmla="*/ 85 w 96"/>
                    <a:gd name="T33" fmla="*/ 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6" h="16">
                      <a:moveTo>
                        <a:pt x="86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13"/>
                        <a:pt x="4" y="16"/>
                        <a:pt x="10" y="16"/>
                      </a:cubicBezTo>
                      <a:cubicBezTo>
                        <a:pt x="86" y="16"/>
                        <a:pt x="86" y="16"/>
                        <a:pt x="86" y="16"/>
                      </a:cubicBezTo>
                      <a:cubicBezTo>
                        <a:pt x="92" y="16"/>
                        <a:pt x="96" y="13"/>
                        <a:pt x="96" y="8"/>
                      </a:cubicBezTo>
                      <a:cubicBezTo>
                        <a:pt x="96" y="3"/>
                        <a:pt x="92" y="0"/>
                        <a:pt x="86" y="0"/>
                      </a:cubicBezTo>
                      <a:close/>
                      <a:moveTo>
                        <a:pt x="85" y="6"/>
                      </a:moveTo>
                      <a:cubicBezTo>
                        <a:pt x="73" y="14"/>
                        <a:pt x="73" y="14"/>
                        <a:pt x="73" y="14"/>
                      </a:cubicBezTo>
                      <a:cubicBezTo>
                        <a:pt x="73" y="14"/>
                        <a:pt x="72" y="14"/>
                        <a:pt x="72" y="14"/>
                      </a:cubicBezTo>
                      <a:cubicBezTo>
                        <a:pt x="72" y="14"/>
                        <a:pt x="72" y="14"/>
                        <a:pt x="71" y="14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6" y="6"/>
                        <a:pt x="46" y="5"/>
                        <a:pt x="46" y="4"/>
                      </a:cubicBezTo>
                      <a:cubicBezTo>
                        <a:pt x="46" y="3"/>
                        <a:pt x="47" y="2"/>
                        <a:pt x="48" y="2"/>
                      </a:cubicBezTo>
                      <a:cubicBezTo>
                        <a:pt x="84" y="2"/>
                        <a:pt x="84" y="2"/>
                        <a:pt x="84" y="2"/>
                      </a:cubicBezTo>
                      <a:cubicBezTo>
                        <a:pt x="85" y="2"/>
                        <a:pt x="86" y="3"/>
                        <a:pt x="86" y="3"/>
                      </a:cubicBezTo>
                      <a:cubicBezTo>
                        <a:pt x="86" y="4"/>
                        <a:pt x="86" y="5"/>
                        <a:pt x="85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7" name="Freeform 54"/>
                <p:cNvSpPr>
                  <a:spLocks/>
                </p:cNvSpPr>
                <p:nvPr/>
              </p:nvSpPr>
              <p:spPr bwMode="auto">
                <a:xfrm>
                  <a:off x="5584826" y="1398588"/>
                  <a:ext cx="301625" cy="44450"/>
                </a:xfrm>
                <a:custGeom>
                  <a:avLst/>
                  <a:gdLst>
                    <a:gd name="T0" fmla="*/ 78 w 80"/>
                    <a:gd name="T1" fmla="*/ 0 h 12"/>
                    <a:gd name="T2" fmla="*/ 2 w 80"/>
                    <a:gd name="T3" fmla="*/ 0 h 12"/>
                    <a:gd name="T4" fmla="*/ 0 w 80"/>
                    <a:gd name="T5" fmla="*/ 2 h 12"/>
                    <a:gd name="T6" fmla="*/ 0 w 80"/>
                    <a:gd name="T7" fmla="*/ 4 h 12"/>
                    <a:gd name="T8" fmla="*/ 10 w 80"/>
                    <a:gd name="T9" fmla="*/ 12 h 12"/>
                    <a:gd name="T10" fmla="*/ 70 w 80"/>
                    <a:gd name="T11" fmla="*/ 12 h 12"/>
                    <a:gd name="T12" fmla="*/ 80 w 80"/>
                    <a:gd name="T13" fmla="*/ 4 h 12"/>
                    <a:gd name="T14" fmla="*/ 80 w 80"/>
                    <a:gd name="T15" fmla="*/ 2 h 12"/>
                    <a:gd name="T16" fmla="*/ 78 w 80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0" h="12">
                      <a:moveTo>
                        <a:pt x="78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9"/>
                        <a:pt x="4" y="12"/>
                        <a:pt x="10" y="12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6" y="12"/>
                        <a:pt x="80" y="9"/>
                        <a:pt x="80" y="4"/>
                      </a:cubicBezTo>
                      <a:cubicBezTo>
                        <a:pt x="80" y="2"/>
                        <a:pt x="80" y="2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8" name="Freeform 55"/>
                <p:cNvSpPr>
                  <a:spLocks noEditPoints="1"/>
                </p:cNvSpPr>
                <p:nvPr/>
              </p:nvSpPr>
              <p:spPr bwMode="auto">
                <a:xfrm>
                  <a:off x="5554663" y="1082675"/>
                  <a:ext cx="361950" cy="241300"/>
                </a:xfrm>
                <a:custGeom>
                  <a:avLst/>
                  <a:gdLst>
                    <a:gd name="T0" fmla="*/ 96 w 96"/>
                    <a:gd name="T1" fmla="*/ 44 h 64"/>
                    <a:gd name="T2" fmla="*/ 88 w 96"/>
                    <a:gd name="T3" fmla="*/ 36 h 64"/>
                    <a:gd name="T4" fmla="*/ 48 w 96"/>
                    <a:gd name="T5" fmla="*/ 0 h 64"/>
                    <a:gd name="T6" fmla="*/ 8 w 96"/>
                    <a:gd name="T7" fmla="*/ 36 h 64"/>
                    <a:gd name="T8" fmla="*/ 0 w 96"/>
                    <a:gd name="T9" fmla="*/ 44 h 64"/>
                    <a:gd name="T10" fmla="*/ 2 w 96"/>
                    <a:gd name="T11" fmla="*/ 49 h 64"/>
                    <a:gd name="T12" fmla="*/ 0 w 96"/>
                    <a:gd name="T13" fmla="*/ 54 h 64"/>
                    <a:gd name="T14" fmla="*/ 10 w 96"/>
                    <a:gd name="T15" fmla="*/ 64 h 64"/>
                    <a:gd name="T16" fmla="*/ 86 w 96"/>
                    <a:gd name="T17" fmla="*/ 64 h 64"/>
                    <a:gd name="T18" fmla="*/ 96 w 96"/>
                    <a:gd name="T19" fmla="*/ 54 h 64"/>
                    <a:gd name="T20" fmla="*/ 94 w 96"/>
                    <a:gd name="T21" fmla="*/ 49 h 64"/>
                    <a:gd name="T22" fmla="*/ 96 w 96"/>
                    <a:gd name="T23" fmla="*/ 44 h 64"/>
                    <a:gd name="T24" fmla="*/ 68 w 96"/>
                    <a:gd name="T25" fmla="*/ 16 h 64"/>
                    <a:gd name="T26" fmla="*/ 70 w 96"/>
                    <a:gd name="T27" fmla="*/ 18 h 64"/>
                    <a:gd name="T28" fmla="*/ 68 w 96"/>
                    <a:gd name="T29" fmla="*/ 20 h 64"/>
                    <a:gd name="T30" fmla="*/ 66 w 96"/>
                    <a:gd name="T31" fmla="*/ 18 h 64"/>
                    <a:gd name="T32" fmla="*/ 68 w 96"/>
                    <a:gd name="T33" fmla="*/ 16 h 64"/>
                    <a:gd name="T34" fmla="*/ 58 w 96"/>
                    <a:gd name="T35" fmla="*/ 12 h 64"/>
                    <a:gd name="T36" fmla="*/ 60 w 96"/>
                    <a:gd name="T37" fmla="*/ 14 h 64"/>
                    <a:gd name="T38" fmla="*/ 58 w 96"/>
                    <a:gd name="T39" fmla="*/ 16 h 64"/>
                    <a:gd name="T40" fmla="*/ 56 w 96"/>
                    <a:gd name="T41" fmla="*/ 14 h 64"/>
                    <a:gd name="T42" fmla="*/ 58 w 96"/>
                    <a:gd name="T43" fmla="*/ 12 h 64"/>
                    <a:gd name="T44" fmla="*/ 48 w 96"/>
                    <a:gd name="T45" fmla="*/ 16 h 64"/>
                    <a:gd name="T46" fmla="*/ 50 w 96"/>
                    <a:gd name="T47" fmla="*/ 18 h 64"/>
                    <a:gd name="T48" fmla="*/ 48 w 96"/>
                    <a:gd name="T49" fmla="*/ 20 h 64"/>
                    <a:gd name="T50" fmla="*/ 46 w 96"/>
                    <a:gd name="T51" fmla="*/ 18 h 64"/>
                    <a:gd name="T52" fmla="*/ 48 w 96"/>
                    <a:gd name="T53" fmla="*/ 16 h 64"/>
                    <a:gd name="T54" fmla="*/ 38 w 96"/>
                    <a:gd name="T55" fmla="*/ 12 h 64"/>
                    <a:gd name="T56" fmla="*/ 40 w 96"/>
                    <a:gd name="T57" fmla="*/ 14 h 64"/>
                    <a:gd name="T58" fmla="*/ 38 w 96"/>
                    <a:gd name="T59" fmla="*/ 16 h 64"/>
                    <a:gd name="T60" fmla="*/ 36 w 96"/>
                    <a:gd name="T61" fmla="*/ 14 h 64"/>
                    <a:gd name="T62" fmla="*/ 38 w 96"/>
                    <a:gd name="T63" fmla="*/ 12 h 64"/>
                    <a:gd name="T64" fmla="*/ 28 w 96"/>
                    <a:gd name="T65" fmla="*/ 16 h 64"/>
                    <a:gd name="T66" fmla="*/ 30 w 96"/>
                    <a:gd name="T67" fmla="*/ 18 h 64"/>
                    <a:gd name="T68" fmla="*/ 28 w 96"/>
                    <a:gd name="T69" fmla="*/ 20 h 64"/>
                    <a:gd name="T70" fmla="*/ 26 w 96"/>
                    <a:gd name="T71" fmla="*/ 18 h 64"/>
                    <a:gd name="T72" fmla="*/ 28 w 96"/>
                    <a:gd name="T73" fmla="*/ 16 h 64"/>
                    <a:gd name="T74" fmla="*/ 86 w 96"/>
                    <a:gd name="T75" fmla="*/ 48 h 64"/>
                    <a:gd name="T76" fmla="*/ 81 w 96"/>
                    <a:gd name="T77" fmla="*/ 47 h 64"/>
                    <a:gd name="T78" fmla="*/ 80 w 96"/>
                    <a:gd name="T79" fmla="*/ 46 h 64"/>
                    <a:gd name="T80" fmla="*/ 78 w 96"/>
                    <a:gd name="T81" fmla="*/ 47 h 64"/>
                    <a:gd name="T82" fmla="*/ 70 w 96"/>
                    <a:gd name="T83" fmla="*/ 52 h 64"/>
                    <a:gd name="T84" fmla="*/ 62 w 96"/>
                    <a:gd name="T85" fmla="*/ 47 h 64"/>
                    <a:gd name="T86" fmla="*/ 60 w 96"/>
                    <a:gd name="T87" fmla="*/ 46 h 64"/>
                    <a:gd name="T88" fmla="*/ 58 w 96"/>
                    <a:gd name="T89" fmla="*/ 47 h 64"/>
                    <a:gd name="T90" fmla="*/ 48 w 96"/>
                    <a:gd name="T91" fmla="*/ 52 h 64"/>
                    <a:gd name="T92" fmla="*/ 38 w 96"/>
                    <a:gd name="T93" fmla="*/ 47 h 64"/>
                    <a:gd name="T94" fmla="*/ 36 w 96"/>
                    <a:gd name="T95" fmla="*/ 46 h 64"/>
                    <a:gd name="T96" fmla="*/ 34 w 96"/>
                    <a:gd name="T97" fmla="*/ 47 h 64"/>
                    <a:gd name="T98" fmla="*/ 26 w 96"/>
                    <a:gd name="T99" fmla="*/ 52 h 64"/>
                    <a:gd name="T100" fmla="*/ 18 w 96"/>
                    <a:gd name="T101" fmla="*/ 47 h 64"/>
                    <a:gd name="T102" fmla="*/ 16 w 96"/>
                    <a:gd name="T103" fmla="*/ 46 h 64"/>
                    <a:gd name="T104" fmla="*/ 15 w 96"/>
                    <a:gd name="T105" fmla="*/ 47 h 64"/>
                    <a:gd name="T106" fmla="*/ 10 w 96"/>
                    <a:gd name="T107" fmla="*/ 48 h 64"/>
                    <a:gd name="T108" fmla="*/ 4 w 96"/>
                    <a:gd name="T109" fmla="*/ 44 h 64"/>
                    <a:gd name="T110" fmla="*/ 10 w 96"/>
                    <a:gd name="T111" fmla="*/ 40 h 64"/>
                    <a:gd name="T112" fmla="*/ 86 w 96"/>
                    <a:gd name="T113" fmla="*/ 40 h 64"/>
                    <a:gd name="T114" fmla="*/ 92 w 96"/>
                    <a:gd name="T115" fmla="*/ 44 h 64"/>
                    <a:gd name="T116" fmla="*/ 86 w 96"/>
                    <a:gd name="T117" fmla="*/ 48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6" h="64">
                      <a:moveTo>
                        <a:pt x="96" y="44"/>
                      </a:moveTo>
                      <a:cubicBezTo>
                        <a:pt x="96" y="39"/>
                        <a:pt x="91" y="37"/>
                        <a:pt x="88" y="36"/>
                      </a:cubicBezTo>
                      <a:cubicBezTo>
                        <a:pt x="87" y="16"/>
                        <a:pt x="70" y="0"/>
                        <a:pt x="48" y="0"/>
                      </a:cubicBezTo>
                      <a:cubicBezTo>
                        <a:pt x="26" y="0"/>
                        <a:pt x="9" y="16"/>
                        <a:pt x="8" y="36"/>
                      </a:cubicBezTo>
                      <a:cubicBezTo>
                        <a:pt x="5" y="37"/>
                        <a:pt x="0" y="39"/>
                        <a:pt x="0" y="44"/>
                      </a:cubicBezTo>
                      <a:cubicBezTo>
                        <a:pt x="0" y="46"/>
                        <a:pt x="1" y="48"/>
                        <a:pt x="2" y="49"/>
                      </a:cubicBezTo>
                      <a:cubicBezTo>
                        <a:pt x="1" y="50"/>
                        <a:pt x="0" y="52"/>
                        <a:pt x="0" y="54"/>
                      </a:cubicBezTo>
                      <a:cubicBezTo>
                        <a:pt x="0" y="60"/>
                        <a:pt x="4" y="64"/>
                        <a:pt x="10" y="64"/>
                      </a:cubicBezTo>
                      <a:cubicBezTo>
                        <a:pt x="86" y="64"/>
                        <a:pt x="86" y="64"/>
                        <a:pt x="86" y="64"/>
                      </a:cubicBezTo>
                      <a:cubicBezTo>
                        <a:pt x="92" y="64"/>
                        <a:pt x="96" y="60"/>
                        <a:pt x="96" y="54"/>
                      </a:cubicBezTo>
                      <a:cubicBezTo>
                        <a:pt x="96" y="52"/>
                        <a:pt x="95" y="50"/>
                        <a:pt x="94" y="49"/>
                      </a:cubicBezTo>
                      <a:cubicBezTo>
                        <a:pt x="95" y="48"/>
                        <a:pt x="96" y="46"/>
                        <a:pt x="96" y="44"/>
                      </a:cubicBezTo>
                      <a:close/>
                      <a:moveTo>
                        <a:pt x="68" y="16"/>
                      </a:moveTo>
                      <a:cubicBezTo>
                        <a:pt x="69" y="16"/>
                        <a:pt x="70" y="17"/>
                        <a:pt x="70" y="18"/>
                      </a:cubicBezTo>
                      <a:cubicBezTo>
                        <a:pt x="70" y="19"/>
                        <a:pt x="69" y="20"/>
                        <a:pt x="68" y="20"/>
                      </a:cubicBezTo>
                      <a:cubicBezTo>
                        <a:pt x="67" y="20"/>
                        <a:pt x="66" y="19"/>
                        <a:pt x="66" y="18"/>
                      </a:cubicBezTo>
                      <a:cubicBezTo>
                        <a:pt x="66" y="17"/>
                        <a:pt x="67" y="16"/>
                        <a:pt x="68" y="16"/>
                      </a:cubicBezTo>
                      <a:close/>
                      <a:moveTo>
                        <a:pt x="58" y="12"/>
                      </a:moveTo>
                      <a:cubicBezTo>
                        <a:pt x="59" y="12"/>
                        <a:pt x="60" y="13"/>
                        <a:pt x="60" y="14"/>
                      </a:cubicBezTo>
                      <a:cubicBezTo>
                        <a:pt x="60" y="15"/>
                        <a:pt x="59" y="16"/>
                        <a:pt x="58" y="16"/>
                      </a:cubicBezTo>
                      <a:cubicBezTo>
                        <a:pt x="57" y="16"/>
                        <a:pt x="56" y="15"/>
                        <a:pt x="56" y="14"/>
                      </a:cubicBezTo>
                      <a:cubicBezTo>
                        <a:pt x="56" y="13"/>
                        <a:pt x="57" y="12"/>
                        <a:pt x="58" y="12"/>
                      </a:cubicBezTo>
                      <a:close/>
                      <a:moveTo>
                        <a:pt x="48" y="16"/>
                      </a:moveTo>
                      <a:cubicBezTo>
                        <a:pt x="49" y="16"/>
                        <a:pt x="50" y="17"/>
                        <a:pt x="50" y="18"/>
                      </a:cubicBezTo>
                      <a:cubicBezTo>
                        <a:pt x="50" y="19"/>
                        <a:pt x="49" y="20"/>
                        <a:pt x="48" y="20"/>
                      </a:cubicBezTo>
                      <a:cubicBezTo>
                        <a:pt x="47" y="20"/>
                        <a:pt x="46" y="19"/>
                        <a:pt x="46" y="18"/>
                      </a:cubicBezTo>
                      <a:cubicBezTo>
                        <a:pt x="46" y="17"/>
                        <a:pt x="47" y="16"/>
                        <a:pt x="48" y="16"/>
                      </a:cubicBezTo>
                      <a:close/>
                      <a:moveTo>
                        <a:pt x="38" y="12"/>
                      </a:moveTo>
                      <a:cubicBezTo>
                        <a:pt x="39" y="12"/>
                        <a:pt x="40" y="13"/>
                        <a:pt x="40" y="14"/>
                      </a:cubicBezTo>
                      <a:cubicBezTo>
                        <a:pt x="40" y="15"/>
                        <a:pt x="39" y="16"/>
                        <a:pt x="38" y="16"/>
                      </a:cubicBezTo>
                      <a:cubicBezTo>
                        <a:pt x="37" y="16"/>
                        <a:pt x="36" y="15"/>
                        <a:pt x="36" y="14"/>
                      </a:cubicBezTo>
                      <a:cubicBezTo>
                        <a:pt x="36" y="13"/>
                        <a:pt x="37" y="12"/>
                        <a:pt x="38" y="12"/>
                      </a:cubicBezTo>
                      <a:close/>
                      <a:moveTo>
                        <a:pt x="28" y="16"/>
                      </a:moveTo>
                      <a:cubicBezTo>
                        <a:pt x="29" y="16"/>
                        <a:pt x="30" y="17"/>
                        <a:pt x="30" y="18"/>
                      </a:cubicBezTo>
                      <a:cubicBezTo>
                        <a:pt x="30" y="19"/>
                        <a:pt x="29" y="20"/>
                        <a:pt x="28" y="20"/>
                      </a:cubicBezTo>
                      <a:cubicBezTo>
                        <a:pt x="27" y="20"/>
                        <a:pt x="26" y="19"/>
                        <a:pt x="26" y="18"/>
                      </a:cubicBezTo>
                      <a:cubicBezTo>
                        <a:pt x="26" y="17"/>
                        <a:pt x="27" y="16"/>
                        <a:pt x="28" y="16"/>
                      </a:cubicBezTo>
                      <a:close/>
                      <a:moveTo>
                        <a:pt x="86" y="48"/>
                      </a:moveTo>
                      <a:cubicBezTo>
                        <a:pt x="84" y="48"/>
                        <a:pt x="82" y="47"/>
                        <a:pt x="81" y="47"/>
                      </a:cubicBezTo>
                      <a:cubicBezTo>
                        <a:pt x="81" y="46"/>
                        <a:pt x="80" y="46"/>
                        <a:pt x="80" y="46"/>
                      </a:cubicBezTo>
                      <a:cubicBezTo>
                        <a:pt x="79" y="46"/>
                        <a:pt x="79" y="47"/>
                        <a:pt x="78" y="47"/>
                      </a:cubicBezTo>
                      <a:cubicBezTo>
                        <a:pt x="77" y="49"/>
                        <a:pt x="75" y="52"/>
                        <a:pt x="70" y="52"/>
                      </a:cubicBezTo>
                      <a:cubicBezTo>
                        <a:pt x="66" y="52"/>
                        <a:pt x="63" y="51"/>
                        <a:pt x="62" y="47"/>
                      </a:cubicBezTo>
                      <a:cubicBezTo>
                        <a:pt x="62" y="46"/>
                        <a:pt x="61" y="46"/>
                        <a:pt x="60" y="46"/>
                      </a:cubicBezTo>
                      <a:cubicBezTo>
                        <a:pt x="59" y="46"/>
                        <a:pt x="58" y="46"/>
                        <a:pt x="58" y="47"/>
                      </a:cubicBezTo>
                      <a:cubicBezTo>
                        <a:pt x="57" y="51"/>
                        <a:pt x="52" y="52"/>
                        <a:pt x="48" y="52"/>
                      </a:cubicBezTo>
                      <a:cubicBezTo>
                        <a:pt x="44" y="52"/>
                        <a:pt x="39" y="51"/>
                        <a:pt x="38" y="47"/>
                      </a:cubicBezTo>
                      <a:cubicBezTo>
                        <a:pt x="38" y="46"/>
                        <a:pt x="37" y="46"/>
                        <a:pt x="36" y="46"/>
                      </a:cubicBezTo>
                      <a:cubicBezTo>
                        <a:pt x="35" y="46"/>
                        <a:pt x="34" y="46"/>
                        <a:pt x="34" y="47"/>
                      </a:cubicBezTo>
                      <a:cubicBezTo>
                        <a:pt x="33" y="51"/>
                        <a:pt x="30" y="52"/>
                        <a:pt x="26" y="52"/>
                      </a:cubicBezTo>
                      <a:cubicBezTo>
                        <a:pt x="21" y="52"/>
                        <a:pt x="19" y="49"/>
                        <a:pt x="18" y="47"/>
                      </a:cubicBezTo>
                      <a:cubicBezTo>
                        <a:pt x="17" y="47"/>
                        <a:pt x="17" y="46"/>
                        <a:pt x="16" y="46"/>
                      </a:cubicBezTo>
                      <a:cubicBezTo>
                        <a:pt x="16" y="46"/>
                        <a:pt x="15" y="46"/>
                        <a:pt x="15" y="47"/>
                      </a:cubicBezTo>
                      <a:cubicBezTo>
                        <a:pt x="14" y="47"/>
                        <a:pt x="12" y="48"/>
                        <a:pt x="10" y="48"/>
                      </a:cubicBezTo>
                      <a:cubicBezTo>
                        <a:pt x="4" y="48"/>
                        <a:pt x="4" y="45"/>
                        <a:pt x="4" y="44"/>
                      </a:cubicBezTo>
                      <a:cubicBezTo>
                        <a:pt x="4" y="42"/>
                        <a:pt x="8" y="40"/>
                        <a:pt x="10" y="40"/>
                      </a:cubicBezTo>
                      <a:cubicBezTo>
                        <a:pt x="86" y="40"/>
                        <a:pt x="86" y="40"/>
                        <a:pt x="86" y="40"/>
                      </a:cubicBezTo>
                      <a:cubicBezTo>
                        <a:pt x="88" y="40"/>
                        <a:pt x="92" y="42"/>
                        <a:pt x="92" y="44"/>
                      </a:cubicBezTo>
                      <a:cubicBezTo>
                        <a:pt x="92" y="45"/>
                        <a:pt x="92" y="48"/>
                        <a:pt x="86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4" y="365125"/>
            <a:ext cx="11042072" cy="819439"/>
          </a:xfrm>
        </p:spPr>
        <p:txBody>
          <a:bodyPr>
            <a:normAutofit/>
          </a:bodyPr>
          <a:lstStyle>
            <a:lvl1pPr algn="ctr">
              <a:defRPr sz="40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964" y="1825625"/>
            <a:ext cx="11042072" cy="435133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964" y="6389688"/>
            <a:ext cx="3006436" cy="365125"/>
          </a:xfrm>
        </p:spPr>
        <p:txBody>
          <a:bodyPr/>
          <a:lstStyle/>
          <a:p>
            <a:fld id="{52E3FFA9-AACC-4715-BC8C-6AF7DE9F4409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89688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6" name="Rectangle: Single Corner Rounded 35">
            <a:extLst>
              <a:ext uri="{FF2B5EF4-FFF2-40B4-BE49-F238E27FC236}">
                <a16:creationId xmlns:a16="http://schemas.microsoft.com/office/drawing/2014/main" xmlns="" id="{B2663546-5DC5-424B-91B9-DB6DCDEA886B}"/>
              </a:ext>
            </a:extLst>
          </p:cNvPr>
          <p:cNvSpPr/>
          <p:nvPr userDrawn="1"/>
        </p:nvSpPr>
        <p:spPr>
          <a:xfrm flipH="1">
            <a:off x="11617036" y="6286500"/>
            <a:ext cx="574964" cy="571500"/>
          </a:xfrm>
          <a:prstGeom prst="round1Rect">
            <a:avLst>
              <a:gd name="adj" fmla="val 50000"/>
            </a:avLst>
          </a:prstGeom>
          <a:solidFill>
            <a:srgbClr val="196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17036" y="6389688"/>
            <a:ext cx="457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49DA96-2E8F-C94F-B51F-1B29BF0EC7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98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B74D59FC-000F-4C82-B359-8384E35BA232}"/>
              </a:ext>
            </a:extLst>
          </p:cNvPr>
          <p:cNvGrpSpPr/>
          <p:nvPr/>
        </p:nvGrpSpPr>
        <p:grpSpPr>
          <a:xfrm>
            <a:off x="4571077" y="5344000"/>
            <a:ext cx="2527322" cy="2516240"/>
            <a:chOff x="5554663" y="1082675"/>
            <a:chExt cx="3619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29" name="Freeform 53">
              <a:extLst>
                <a:ext uri="{FF2B5EF4-FFF2-40B4-BE49-F238E27FC236}">
                  <a16:creationId xmlns:a16="http://schemas.microsoft.com/office/drawing/2014/main" xmlns="" id="{D561B397-7451-4AEE-8FD9-135EDFA06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330325"/>
              <a:ext cx="361950" cy="60325"/>
            </a:xfrm>
            <a:custGeom>
              <a:avLst/>
              <a:gdLst>
                <a:gd name="T0" fmla="*/ 86 w 96"/>
                <a:gd name="T1" fmla="*/ 0 h 16"/>
                <a:gd name="T2" fmla="*/ 10 w 96"/>
                <a:gd name="T3" fmla="*/ 0 h 16"/>
                <a:gd name="T4" fmla="*/ 0 w 96"/>
                <a:gd name="T5" fmla="*/ 8 h 16"/>
                <a:gd name="T6" fmla="*/ 10 w 96"/>
                <a:gd name="T7" fmla="*/ 16 h 16"/>
                <a:gd name="T8" fmla="*/ 86 w 96"/>
                <a:gd name="T9" fmla="*/ 16 h 16"/>
                <a:gd name="T10" fmla="*/ 96 w 96"/>
                <a:gd name="T11" fmla="*/ 8 h 16"/>
                <a:gd name="T12" fmla="*/ 86 w 96"/>
                <a:gd name="T13" fmla="*/ 0 h 16"/>
                <a:gd name="T14" fmla="*/ 85 w 96"/>
                <a:gd name="T15" fmla="*/ 6 h 16"/>
                <a:gd name="T16" fmla="*/ 73 w 96"/>
                <a:gd name="T17" fmla="*/ 14 h 16"/>
                <a:gd name="T18" fmla="*/ 72 w 96"/>
                <a:gd name="T19" fmla="*/ 14 h 16"/>
                <a:gd name="T20" fmla="*/ 71 w 96"/>
                <a:gd name="T21" fmla="*/ 14 h 16"/>
                <a:gd name="T22" fmla="*/ 47 w 96"/>
                <a:gd name="T23" fmla="*/ 6 h 16"/>
                <a:gd name="T24" fmla="*/ 46 w 96"/>
                <a:gd name="T25" fmla="*/ 4 h 16"/>
                <a:gd name="T26" fmla="*/ 48 w 96"/>
                <a:gd name="T27" fmla="*/ 2 h 16"/>
                <a:gd name="T28" fmla="*/ 84 w 96"/>
                <a:gd name="T29" fmla="*/ 2 h 16"/>
                <a:gd name="T30" fmla="*/ 86 w 96"/>
                <a:gd name="T31" fmla="*/ 3 h 16"/>
                <a:gd name="T32" fmla="*/ 85 w 96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">
                  <a:moveTo>
                    <a:pt x="8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6"/>
                    <a:pt x="10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92" y="16"/>
                    <a:pt x="96" y="13"/>
                    <a:pt x="96" y="8"/>
                  </a:cubicBezTo>
                  <a:cubicBezTo>
                    <a:pt x="96" y="3"/>
                    <a:pt x="92" y="0"/>
                    <a:pt x="86" y="0"/>
                  </a:cubicBezTo>
                  <a:close/>
                  <a:moveTo>
                    <a:pt x="85" y="6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2" y="14"/>
                    <a:pt x="72" y="14"/>
                  </a:cubicBezTo>
                  <a:cubicBezTo>
                    <a:pt x="72" y="14"/>
                    <a:pt x="72" y="14"/>
                    <a:pt x="71" y="14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6"/>
                    <a:pt x="46" y="5"/>
                    <a:pt x="46" y="4"/>
                  </a:cubicBezTo>
                  <a:cubicBezTo>
                    <a:pt x="46" y="3"/>
                    <a:pt x="47" y="2"/>
                    <a:pt x="48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5" y="2"/>
                    <a:pt x="86" y="3"/>
                    <a:pt x="86" y="3"/>
                  </a:cubicBezTo>
                  <a:cubicBezTo>
                    <a:pt x="86" y="4"/>
                    <a:pt x="86" y="5"/>
                    <a:pt x="8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54">
              <a:extLst>
                <a:ext uri="{FF2B5EF4-FFF2-40B4-BE49-F238E27FC236}">
                  <a16:creationId xmlns:a16="http://schemas.microsoft.com/office/drawing/2014/main" xmlns="" id="{BE696CAC-A380-4261-B112-2CAFC9DFE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6" y="1398588"/>
              <a:ext cx="301625" cy="44450"/>
            </a:xfrm>
            <a:custGeom>
              <a:avLst/>
              <a:gdLst>
                <a:gd name="T0" fmla="*/ 78 w 80"/>
                <a:gd name="T1" fmla="*/ 0 h 12"/>
                <a:gd name="T2" fmla="*/ 2 w 80"/>
                <a:gd name="T3" fmla="*/ 0 h 12"/>
                <a:gd name="T4" fmla="*/ 0 w 80"/>
                <a:gd name="T5" fmla="*/ 2 h 12"/>
                <a:gd name="T6" fmla="*/ 0 w 80"/>
                <a:gd name="T7" fmla="*/ 4 h 12"/>
                <a:gd name="T8" fmla="*/ 10 w 80"/>
                <a:gd name="T9" fmla="*/ 12 h 12"/>
                <a:gd name="T10" fmla="*/ 70 w 80"/>
                <a:gd name="T11" fmla="*/ 12 h 12"/>
                <a:gd name="T12" fmla="*/ 80 w 80"/>
                <a:gd name="T13" fmla="*/ 4 h 12"/>
                <a:gd name="T14" fmla="*/ 80 w 80"/>
                <a:gd name="T15" fmla="*/ 2 h 12"/>
                <a:gd name="T16" fmla="*/ 78 w 8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2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9"/>
                    <a:pt x="4" y="12"/>
                    <a:pt x="1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6" y="12"/>
                    <a:pt x="80" y="9"/>
                    <a:pt x="80" y="4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55">
              <a:extLst>
                <a:ext uri="{FF2B5EF4-FFF2-40B4-BE49-F238E27FC236}">
                  <a16:creationId xmlns:a16="http://schemas.microsoft.com/office/drawing/2014/main" xmlns="" id="{208F4BBF-9AE7-4709-8E0C-99AD71A60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082675"/>
              <a:ext cx="361950" cy="241300"/>
            </a:xfrm>
            <a:custGeom>
              <a:avLst/>
              <a:gdLst>
                <a:gd name="T0" fmla="*/ 96 w 96"/>
                <a:gd name="T1" fmla="*/ 44 h 64"/>
                <a:gd name="T2" fmla="*/ 88 w 96"/>
                <a:gd name="T3" fmla="*/ 36 h 64"/>
                <a:gd name="T4" fmla="*/ 48 w 96"/>
                <a:gd name="T5" fmla="*/ 0 h 64"/>
                <a:gd name="T6" fmla="*/ 8 w 96"/>
                <a:gd name="T7" fmla="*/ 36 h 64"/>
                <a:gd name="T8" fmla="*/ 0 w 96"/>
                <a:gd name="T9" fmla="*/ 44 h 64"/>
                <a:gd name="T10" fmla="*/ 2 w 96"/>
                <a:gd name="T11" fmla="*/ 49 h 64"/>
                <a:gd name="T12" fmla="*/ 0 w 96"/>
                <a:gd name="T13" fmla="*/ 54 h 64"/>
                <a:gd name="T14" fmla="*/ 10 w 96"/>
                <a:gd name="T15" fmla="*/ 64 h 64"/>
                <a:gd name="T16" fmla="*/ 86 w 96"/>
                <a:gd name="T17" fmla="*/ 64 h 64"/>
                <a:gd name="T18" fmla="*/ 96 w 96"/>
                <a:gd name="T19" fmla="*/ 54 h 64"/>
                <a:gd name="T20" fmla="*/ 94 w 96"/>
                <a:gd name="T21" fmla="*/ 49 h 64"/>
                <a:gd name="T22" fmla="*/ 96 w 96"/>
                <a:gd name="T23" fmla="*/ 44 h 64"/>
                <a:gd name="T24" fmla="*/ 68 w 96"/>
                <a:gd name="T25" fmla="*/ 16 h 64"/>
                <a:gd name="T26" fmla="*/ 70 w 96"/>
                <a:gd name="T27" fmla="*/ 18 h 64"/>
                <a:gd name="T28" fmla="*/ 68 w 96"/>
                <a:gd name="T29" fmla="*/ 20 h 64"/>
                <a:gd name="T30" fmla="*/ 66 w 96"/>
                <a:gd name="T31" fmla="*/ 18 h 64"/>
                <a:gd name="T32" fmla="*/ 68 w 96"/>
                <a:gd name="T33" fmla="*/ 16 h 64"/>
                <a:gd name="T34" fmla="*/ 58 w 96"/>
                <a:gd name="T35" fmla="*/ 12 h 64"/>
                <a:gd name="T36" fmla="*/ 60 w 96"/>
                <a:gd name="T37" fmla="*/ 14 h 64"/>
                <a:gd name="T38" fmla="*/ 58 w 96"/>
                <a:gd name="T39" fmla="*/ 16 h 64"/>
                <a:gd name="T40" fmla="*/ 56 w 96"/>
                <a:gd name="T41" fmla="*/ 14 h 64"/>
                <a:gd name="T42" fmla="*/ 58 w 96"/>
                <a:gd name="T43" fmla="*/ 12 h 64"/>
                <a:gd name="T44" fmla="*/ 48 w 96"/>
                <a:gd name="T45" fmla="*/ 16 h 64"/>
                <a:gd name="T46" fmla="*/ 50 w 96"/>
                <a:gd name="T47" fmla="*/ 18 h 64"/>
                <a:gd name="T48" fmla="*/ 48 w 96"/>
                <a:gd name="T49" fmla="*/ 20 h 64"/>
                <a:gd name="T50" fmla="*/ 46 w 96"/>
                <a:gd name="T51" fmla="*/ 18 h 64"/>
                <a:gd name="T52" fmla="*/ 48 w 96"/>
                <a:gd name="T53" fmla="*/ 16 h 64"/>
                <a:gd name="T54" fmla="*/ 38 w 96"/>
                <a:gd name="T55" fmla="*/ 12 h 64"/>
                <a:gd name="T56" fmla="*/ 40 w 96"/>
                <a:gd name="T57" fmla="*/ 14 h 64"/>
                <a:gd name="T58" fmla="*/ 38 w 96"/>
                <a:gd name="T59" fmla="*/ 16 h 64"/>
                <a:gd name="T60" fmla="*/ 36 w 96"/>
                <a:gd name="T61" fmla="*/ 14 h 64"/>
                <a:gd name="T62" fmla="*/ 38 w 96"/>
                <a:gd name="T63" fmla="*/ 12 h 64"/>
                <a:gd name="T64" fmla="*/ 28 w 96"/>
                <a:gd name="T65" fmla="*/ 16 h 64"/>
                <a:gd name="T66" fmla="*/ 30 w 96"/>
                <a:gd name="T67" fmla="*/ 18 h 64"/>
                <a:gd name="T68" fmla="*/ 28 w 96"/>
                <a:gd name="T69" fmla="*/ 20 h 64"/>
                <a:gd name="T70" fmla="*/ 26 w 96"/>
                <a:gd name="T71" fmla="*/ 18 h 64"/>
                <a:gd name="T72" fmla="*/ 28 w 96"/>
                <a:gd name="T73" fmla="*/ 16 h 64"/>
                <a:gd name="T74" fmla="*/ 86 w 96"/>
                <a:gd name="T75" fmla="*/ 48 h 64"/>
                <a:gd name="T76" fmla="*/ 81 w 96"/>
                <a:gd name="T77" fmla="*/ 47 h 64"/>
                <a:gd name="T78" fmla="*/ 80 w 96"/>
                <a:gd name="T79" fmla="*/ 46 h 64"/>
                <a:gd name="T80" fmla="*/ 78 w 96"/>
                <a:gd name="T81" fmla="*/ 47 h 64"/>
                <a:gd name="T82" fmla="*/ 70 w 96"/>
                <a:gd name="T83" fmla="*/ 52 h 64"/>
                <a:gd name="T84" fmla="*/ 62 w 96"/>
                <a:gd name="T85" fmla="*/ 47 h 64"/>
                <a:gd name="T86" fmla="*/ 60 w 96"/>
                <a:gd name="T87" fmla="*/ 46 h 64"/>
                <a:gd name="T88" fmla="*/ 58 w 96"/>
                <a:gd name="T89" fmla="*/ 47 h 64"/>
                <a:gd name="T90" fmla="*/ 48 w 96"/>
                <a:gd name="T91" fmla="*/ 52 h 64"/>
                <a:gd name="T92" fmla="*/ 38 w 96"/>
                <a:gd name="T93" fmla="*/ 47 h 64"/>
                <a:gd name="T94" fmla="*/ 36 w 96"/>
                <a:gd name="T95" fmla="*/ 46 h 64"/>
                <a:gd name="T96" fmla="*/ 34 w 96"/>
                <a:gd name="T97" fmla="*/ 47 h 64"/>
                <a:gd name="T98" fmla="*/ 26 w 96"/>
                <a:gd name="T99" fmla="*/ 52 h 64"/>
                <a:gd name="T100" fmla="*/ 18 w 96"/>
                <a:gd name="T101" fmla="*/ 47 h 64"/>
                <a:gd name="T102" fmla="*/ 16 w 96"/>
                <a:gd name="T103" fmla="*/ 46 h 64"/>
                <a:gd name="T104" fmla="*/ 15 w 96"/>
                <a:gd name="T105" fmla="*/ 47 h 64"/>
                <a:gd name="T106" fmla="*/ 10 w 96"/>
                <a:gd name="T107" fmla="*/ 48 h 64"/>
                <a:gd name="T108" fmla="*/ 4 w 96"/>
                <a:gd name="T109" fmla="*/ 44 h 64"/>
                <a:gd name="T110" fmla="*/ 10 w 96"/>
                <a:gd name="T111" fmla="*/ 40 h 64"/>
                <a:gd name="T112" fmla="*/ 86 w 96"/>
                <a:gd name="T113" fmla="*/ 40 h 64"/>
                <a:gd name="T114" fmla="*/ 92 w 96"/>
                <a:gd name="T115" fmla="*/ 44 h 64"/>
                <a:gd name="T116" fmla="*/ 86 w 96"/>
                <a:gd name="T117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64">
                  <a:moveTo>
                    <a:pt x="96" y="44"/>
                  </a:moveTo>
                  <a:cubicBezTo>
                    <a:pt x="96" y="39"/>
                    <a:pt x="91" y="37"/>
                    <a:pt x="88" y="36"/>
                  </a:cubicBezTo>
                  <a:cubicBezTo>
                    <a:pt x="87" y="16"/>
                    <a:pt x="70" y="0"/>
                    <a:pt x="48" y="0"/>
                  </a:cubicBezTo>
                  <a:cubicBezTo>
                    <a:pt x="26" y="0"/>
                    <a:pt x="9" y="16"/>
                    <a:pt x="8" y="36"/>
                  </a:cubicBezTo>
                  <a:cubicBezTo>
                    <a:pt x="5" y="37"/>
                    <a:pt x="0" y="39"/>
                    <a:pt x="0" y="44"/>
                  </a:cubicBezTo>
                  <a:cubicBezTo>
                    <a:pt x="0" y="46"/>
                    <a:pt x="1" y="48"/>
                    <a:pt x="2" y="49"/>
                  </a:cubicBezTo>
                  <a:cubicBezTo>
                    <a:pt x="1" y="50"/>
                    <a:pt x="0" y="52"/>
                    <a:pt x="0" y="54"/>
                  </a:cubicBezTo>
                  <a:cubicBezTo>
                    <a:pt x="0" y="60"/>
                    <a:pt x="4" y="64"/>
                    <a:pt x="10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2" y="64"/>
                    <a:pt x="96" y="60"/>
                    <a:pt x="96" y="54"/>
                  </a:cubicBezTo>
                  <a:cubicBezTo>
                    <a:pt x="96" y="52"/>
                    <a:pt x="95" y="50"/>
                    <a:pt x="94" y="49"/>
                  </a:cubicBezTo>
                  <a:cubicBezTo>
                    <a:pt x="95" y="48"/>
                    <a:pt x="96" y="46"/>
                    <a:pt x="96" y="44"/>
                  </a:cubicBezTo>
                  <a:close/>
                  <a:moveTo>
                    <a:pt x="68" y="16"/>
                  </a:moveTo>
                  <a:cubicBezTo>
                    <a:pt x="69" y="16"/>
                    <a:pt x="70" y="17"/>
                    <a:pt x="70" y="18"/>
                  </a:cubicBezTo>
                  <a:cubicBezTo>
                    <a:pt x="70" y="19"/>
                    <a:pt x="69" y="20"/>
                    <a:pt x="68" y="20"/>
                  </a:cubicBezTo>
                  <a:cubicBezTo>
                    <a:pt x="67" y="20"/>
                    <a:pt x="66" y="19"/>
                    <a:pt x="66" y="18"/>
                  </a:cubicBezTo>
                  <a:cubicBezTo>
                    <a:pt x="66" y="17"/>
                    <a:pt x="67" y="16"/>
                    <a:pt x="68" y="16"/>
                  </a:cubicBezTo>
                  <a:close/>
                  <a:moveTo>
                    <a:pt x="58" y="12"/>
                  </a:moveTo>
                  <a:cubicBezTo>
                    <a:pt x="59" y="12"/>
                    <a:pt x="60" y="13"/>
                    <a:pt x="60" y="14"/>
                  </a:cubicBezTo>
                  <a:cubicBezTo>
                    <a:pt x="60" y="15"/>
                    <a:pt x="59" y="16"/>
                    <a:pt x="58" y="16"/>
                  </a:cubicBezTo>
                  <a:cubicBezTo>
                    <a:pt x="57" y="16"/>
                    <a:pt x="56" y="15"/>
                    <a:pt x="56" y="14"/>
                  </a:cubicBezTo>
                  <a:cubicBezTo>
                    <a:pt x="56" y="13"/>
                    <a:pt x="57" y="12"/>
                    <a:pt x="58" y="12"/>
                  </a:cubicBezTo>
                  <a:close/>
                  <a:moveTo>
                    <a:pt x="48" y="16"/>
                  </a:moveTo>
                  <a:cubicBezTo>
                    <a:pt x="49" y="16"/>
                    <a:pt x="50" y="17"/>
                    <a:pt x="50" y="18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7"/>
                    <a:pt x="47" y="16"/>
                    <a:pt x="48" y="16"/>
                  </a:cubicBezTo>
                  <a:close/>
                  <a:moveTo>
                    <a:pt x="38" y="12"/>
                  </a:moveTo>
                  <a:cubicBezTo>
                    <a:pt x="39" y="12"/>
                    <a:pt x="40" y="13"/>
                    <a:pt x="40" y="14"/>
                  </a:cubicBezTo>
                  <a:cubicBezTo>
                    <a:pt x="40" y="15"/>
                    <a:pt x="39" y="16"/>
                    <a:pt x="38" y="16"/>
                  </a:cubicBezTo>
                  <a:cubicBezTo>
                    <a:pt x="37" y="16"/>
                    <a:pt x="36" y="15"/>
                    <a:pt x="36" y="14"/>
                  </a:cubicBezTo>
                  <a:cubicBezTo>
                    <a:pt x="36" y="13"/>
                    <a:pt x="37" y="12"/>
                    <a:pt x="38" y="12"/>
                  </a:cubicBezTo>
                  <a:close/>
                  <a:moveTo>
                    <a:pt x="28" y="16"/>
                  </a:moveTo>
                  <a:cubicBezTo>
                    <a:pt x="29" y="16"/>
                    <a:pt x="30" y="17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ubicBezTo>
                    <a:pt x="27" y="20"/>
                    <a:pt x="26" y="19"/>
                    <a:pt x="26" y="18"/>
                  </a:cubicBezTo>
                  <a:cubicBezTo>
                    <a:pt x="26" y="17"/>
                    <a:pt x="27" y="16"/>
                    <a:pt x="28" y="16"/>
                  </a:cubicBezTo>
                  <a:close/>
                  <a:moveTo>
                    <a:pt x="86" y="48"/>
                  </a:moveTo>
                  <a:cubicBezTo>
                    <a:pt x="84" y="48"/>
                    <a:pt x="82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79" y="46"/>
                    <a:pt x="79" y="47"/>
                    <a:pt x="78" y="47"/>
                  </a:cubicBezTo>
                  <a:cubicBezTo>
                    <a:pt x="77" y="49"/>
                    <a:pt x="75" y="52"/>
                    <a:pt x="70" y="52"/>
                  </a:cubicBezTo>
                  <a:cubicBezTo>
                    <a:pt x="66" y="52"/>
                    <a:pt x="63" y="51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58" y="46"/>
                    <a:pt x="58" y="47"/>
                  </a:cubicBezTo>
                  <a:cubicBezTo>
                    <a:pt x="57" y="51"/>
                    <a:pt x="52" y="52"/>
                    <a:pt x="48" y="52"/>
                  </a:cubicBezTo>
                  <a:cubicBezTo>
                    <a:pt x="44" y="52"/>
                    <a:pt x="39" y="51"/>
                    <a:pt x="38" y="47"/>
                  </a:cubicBezTo>
                  <a:cubicBezTo>
                    <a:pt x="38" y="46"/>
                    <a:pt x="37" y="46"/>
                    <a:pt x="36" y="46"/>
                  </a:cubicBezTo>
                  <a:cubicBezTo>
                    <a:pt x="35" y="46"/>
                    <a:pt x="34" y="46"/>
                    <a:pt x="34" y="47"/>
                  </a:cubicBezTo>
                  <a:cubicBezTo>
                    <a:pt x="33" y="51"/>
                    <a:pt x="30" y="52"/>
                    <a:pt x="26" y="52"/>
                  </a:cubicBezTo>
                  <a:cubicBezTo>
                    <a:pt x="21" y="52"/>
                    <a:pt x="19" y="49"/>
                    <a:pt x="18" y="47"/>
                  </a:cubicBezTo>
                  <a:cubicBezTo>
                    <a:pt x="17" y="47"/>
                    <a:pt x="17" y="46"/>
                    <a:pt x="16" y="46"/>
                  </a:cubicBezTo>
                  <a:cubicBezTo>
                    <a:pt x="16" y="46"/>
                    <a:pt x="15" y="46"/>
                    <a:pt x="15" y="47"/>
                  </a:cubicBezTo>
                  <a:cubicBezTo>
                    <a:pt x="14" y="47"/>
                    <a:pt x="12" y="48"/>
                    <a:pt x="10" y="48"/>
                  </a:cubicBezTo>
                  <a:cubicBezTo>
                    <a:pt x="4" y="48"/>
                    <a:pt x="4" y="45"/>
                    <a:pt x="4" y="44"/>
                  </a:cubicBezTo>
                  <a:cubicBezTo>
                    <a:pt x="4" y="42"/>
                    <a:pt x="8" y="40"/>
                    <a:pt x="10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8" y="40"/>
                    <a:pt x="92" y="42"/>
                    <a:pt x="92" y="44"/>
                  </a:cubicBezTo>
                  <a:cubicBezTo>
                    <a:pt x="92" y="45"/>
                    <a:pt x="92" y="48"/>
                    <a:pt x="8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95D5050-A364-4938-9095-E3A35D65DE8A}"/>
              </a:ext>
            </a:extLst>
          </p:cNvPr>
          <p:cNvGrpSpPr/>
          <p:nvPr/>
        </p:nvGrpSpPr>
        <p:grpSpPr>
          <a:xfrm rot="977373">
            <a:off x="239773" y="3292266"/>
            <a:ext cx="2123695" cy="2678219"/>
            <a:chOff x="7748588" y="1082675"/>
            <a:chExt cx="2857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xmlns="" id="{3319DEE3-43B0-4EC7-B75F-A7D50CCE7B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8588" y="1157288"/>
              <a:ext cx="285750" cy="285750"/>
            </a:xfrm>
            <a:custGeom>
              <a:avLst/>
              <a:gdLst>
                <a:gd name="T0" fmla="*/ 65 w 76"/>
                <a:gd name="T1" fmla="*/ 11 h 76"/>
                <a:gd name="T2" fmla="*/ 62 w 76"/>
                <a:gd name="T3" fmla="*/ 11 h 76"/>
                <a:gd name="T4" fmla="*/ 40 w 76"/>
                <a:gd name="T5" fmla="*/ 33 h 76"/>
                <a:gd name="T6" fmla="*/ 40 w 76"/>
                <a:gd name="T7" fmla="*/ 2 h 76"/>
                <a:gd name="T8" fmla="*/ 38 w 76"/>
                <a:gd name="T9" fmla="*/ 0 h 76"/>
                <a:gd name="T10" fmla="*/ 0 w 76"/>
                <a:gd name="T11" fmla="*/ 38 h 76"/>
                <a:gd name="T12" fmla="*/ 38 w 76"/>
                <a:gd name="T13" fmla="*/ 76 h 76"/>
                <a:gd name="T14" fmla="*/ 76 w 76"/>
                <a:gd name="T15" fmla="*/ 38 h 76"/>
                <a:gd name="T16" fmla="*/ 65 w 76"/>
                <a:gd name="T17" fmla="*/ 11 h 76"/>
                <a:gd name="T18" fmla="*/ 53 w 76"/>
                <a:gd name="T19" fmla="*/ 23 h 76"/>
                <a:gd name="T20" fmla="*/ 54 w 76"/>
                <a:gd name="T21" fmla="*/ 24 h 76"/>
                <a:gd name="T22" fmla="*/ 54 w 76"/>
                <a:gd name="T23" fmla="*/ 30 h 76"/>
                <a:gd name="T24" fmla="*/ 48 w 76"/>
                <a:gd name="T25" fmla="*/ 30 h 76"/>
                <a:gd name="T26" fmla="*/ 47 w 76"/>
                <a:gd name="T27" fmla="*/ 29 h 76"/>
                <a:gd name="T28" fmla="*/ 53 w 76"/>
                <a:gd name="T29" fmla="*/ 23 h 76"/>
                <a:gd name="T30" fmla="*/ 60 w 76"/>
                <a:gd name="T31" fmla="*/ 42 h 76"/>
                <a:gd name="T32" fmla="*/ 54 w 76"/>
                <a:gd name="T33" fmla="*/ 48 h 76"/>
                <a:gd name="T34" fmla="*/ 48 w 76"/>
                <a:gd name="T35" fmla="*/ 42 h 76"/>
                <a:gd name="T36" fmla="*/ 54 w 76"/>
                <a:gd name="T37" fmla="*/ 36 h 76"/>
                <a:gd name="T38" fmla="*/ 60 w 76"/>
                <a:gd name="T39" fmla="*/ 42 h 76"/>
                <a:gd name="T40" fmla="*/ 40 w 76"/>
                <a:gd name="T41" fmla="*/ 48 h 76"/>
                <a:gd name="T42" fmla="*/ 46 w 76"/>
                <a:gd name="T43" fmla="*/ 54 h 76"/>
                <a:gd name="T44" fmla="*/ 40 w 76"/>
                <a:gd name="T45" fmla="*/ 60 h 76"/>
                <a:gd name="T46" fmla="*/ 34 w 76"/>
                <a:gd name="T47" fmla="*/ 54 h 76"/>
                <a:gd name="T48" fmla="*/ 40 w 76"/>
                <a:gd name="T49" fmla="*/ 48 h 76"/>
                <a:gd name="T50" fmla="*/ 28 w 76"/>
                <a:gd name="T51" fmla="*/ 30 h 76"/>
                <a:gd name="T52" fmla="*/ 22 w 76"/>
                <a:gd name="T53" fmla="*/ 24 h 76"/>
                <a:gd name="T54" fmla="*/ 28 w 76"/>
                <a:gd name="T55" fmla="*/ 18 h 76"/>
                <a:gd name="T56" fmla="*/ 34 w 76"/>
                <a:gd name="T57" fmla="*/ 24 h 76"/>
                <a:gd name="T58" fmla="*/ 28 w 76"/>
                <a:gd name="T59" fmla="*/ 30 h 76"/>
                <a:gd name="T60" fmla="*/ 30 w 76"/>
                <a:gd name="T61" fmla="*/ 42 h 76"/>
                <a:gd name="T62" fmla="*/ 24 w 76"/>
                <a:gd name="T63" fmla="*/ 48 h 76"/>
                <a:gd name="T64" fmla="*/ 18 w 76"/>
                <a:gd name="T65" fmla="*/ 42 h 76"/>
                <a:gd name="T66" fmla="*/ 24 w 76"/>
                <a:gd name="T67" fmla="*/ 36 h 76"/>
                <a:gd name="T68" fmla="*/ 30 w 76"/>
                <a:gd name="T69" fmla="*/ 42 h 76"/>
                <a:gd name="T70" fmla="*/ 38 w 76"/>
                <a:gd name="T71" fmla="*/ 72 h 76"/>
                <a:gd name="T72" fmla="*/ 4 w 76"/>
                <a:gd name="T73" fmla="*/ 38 h 76"/>
                <a:gd name="T74" fmla="*/ 36 w 76"/>
                <a:gd name="T75" fmla="*/ 4 h 76"/>
                <a:gd name="T76" fmla="*/ 36 w 76"/>
                <a:gd name="T77" fmla="*/ 10 h 76"/>
                <a:gd name="T78" fmla="*/ 10 w 76"/>
                <a:gd name="T79" fmla="*/ 38 h 76"/>
                <a:gd name="T80" fmla="*/ 38 w 76"/>
                <a:gd name="T81" fmla="*/ 66 h 76"/>
                <a:gd name="T82" fmla="*/ 66 w 76"/>
                <a:gd name="T83" fmla="*/ 38 h 76"/>
                <a:gd name="T84" fmla="*/ 59 w 76"/>
                <a:gd name="T85" fmla="*/ 20 h 76"/>
                <a:gd name="T86" fmla="*/ 63 w 76"/>
                <a:gd name="T87" fmla="*/ 15 h 76"/>
                <a:gd name="T88" fmla="*/ 72 w 76"/>
                <a:gd name="T89" fmla="*/ 38 h 76"/>
                <a:gd name="T90" fmla="*/ 38 w 76"/>
                <a:gd name="T91" fmla="*/ 7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76">
                  <a:moveTo>
                    <a:pt x="65" y="11"/>
                  </a:moveTo>
                  <a:cubicBezTo>
                    <a:pt x="64" y="10"/>
                    <a:pt x="63" y="10"/>
                    <a:pt x="62" y="11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28"/>
                    <a:pt x="72" y="18"/>
                    <a:pt x="65" y="11"/>
                  </a:cubicBezTo>
                  <a:close/>
                  <a:moveTo>
                    <a:pt x="53" y="23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6" y="26"/>
                    <a:pt x="56" y="28"/>
                    <a:pt x="54" y="30"/>
                  </a:cubicBezTo>
                  <a:cubicBezTo>
                    <a:pt x="52" y="32"/>
                    <a:pt x="50" y="32"/>
                    <a:pt x="48" y="30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53" y="23"/>
                  </a:lnTo>
                  <a:close/>
                  <a:moveTo>
                    <a:pt x="60" y="42"/>
                  </a:moveTo>
                  <a:cubicBezTo>
                    <a:pt x="60" y="45"/>
                    <a:pt x="57" y="48"/>
                    <a:pt x="54" y="48"/>
                  </a:cubicBezTo>
                  <a:cubicBezTo>
                    <a:pt x="51" y="48"/>
                    <a:pt x="48" y="45"/>
                    <a:pt x="48" y="42"/>
                  </a:cubicBezTo>
                  <a:cubicBezTo>
                    <a:pt x="48" y="39"/>
                    <a:pt x="51" y="36"/>
                    <a:pt x="54" y="36"/>
                  </a:cubicBezTo>
                  <a:cubicBezTo>
                    <a:pt x="57" y="36"/>
                    <a:pt x="60" y="39"/>
                    <a:pt x="60" y="42"/>
                  </a:cubicBezTo>
                  <a:close/>
                  <a:moveTo>
                    <a:pt x="40" y="48"/>
                  </a:moveTo>
                  <a:cubicBezTo>
                    <a:pt x="43" y="48"/>
                    <a:pt x="46" y="51"/>
                    <a:pt x="46" y="54"/>
                  </a:cubicBezTo>
                  <a:cubicBezTo>
                    <a:pt x="46" y="57"/>
                    <a:pt x="43" y="60"/>
                    <a:pt x="40" y="60"/>
                  </a:cubicBezTo>
                  <a:cubicBezTo>
                    <a:pt x="37" y="60"/>
                    <a:pt x="34" y="57"/>
                    <a:pt x="34" y="54"/>
                  </a:cubicBezTo>
                  <a:cubicBezTo>
                    <a:pt x="34" y="51"/>
                    <a:pt x="37" y="48"/>
                    <a:pt x="40" y="48"/>
                  </a:cubicBezTo>
                  <a:close/>
                  <a:moveTo>
                    <a:pt x="28" y="30"/>
                  </a:moveTo>
                  <a:cubicBezTo>
                    <a:pt x="25" y="30"/>
                    <a:pt x="22" y="27"/>
                    <a:pt x="22" y="24"/>
                  </a:cubicBezTo>
                  <a:cubicBezTo>
                    <a:pt x="22" y="21"/>
                    <a:pt x="25" y="18"/>
                    <a:pt x="28" y="18"/>
                  </a:cubicBezTo>
                  <a:cubicBezTo>
                    <a:pt x="31" y="18"/>
                    <a:pt x="34" y="21"/>
                    <a:pt x="34" y="24"/>
                  </a:cubicBezTo>
                  <a:cubicBezTo>
                    <a:pt x="34" y="27"/>
                    <a:pt x="31" y="30"/>
                    <a:pt x="28" y="30"/>
                  </a:cubicBezTo>
                  <a:close/>
                  <a:moveTo>
                    <a:pt x="30" y="42"/>
                  </a:moveTo>
                  <a:cubicBezTo>
                    <a:pt x="30" y="45"/>
                    <a:pt x="27" y="48"/>
                    <a:pt x="24" y="48"/>
                  </a:cubicBezTo>
                  <a:cubicBezTo>
                    <a:pt x="21" y="48"/>
                    <a:pt x="18" y="45"/>
                    <a:pt x="18" y="42"/>
                  </a:cubicBezTo>
                  <a:cubicBezTo>
                    <a:pt x="18" y="39"/>
                    <a:pt x="21" y="36"/>
                    <a:pt x="24" y="36"/>
                  </a:cubicBezTo>
                  <a:cubicBezTo>
                    <a:pt x="27" y="36"/>
                    <a:pt x="30" y="39"/>
                    <a:pt x="30" y="42"/>
                  </a:cubicBezTo>
                  <a:close/>
                  <a:moveTo>
                    <a:pt x="38" y="72"/>
                  </a:moveTo>
                  <a:cubicBezTo>
                    <a:pt x="19" y="72"/>
                    <a:pt x="4" y="57"/>
                    <a:pt x="4" y="38"/>
                  </a:cubicBezTo>
                  <a:cubicBezTo>
                    <a:pt x="4" y="20"/>
                    <a:pt x="18" y="5"/>
                    <a:pt x="36" y="4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1" y="11"/>
                    <a:pt x="10" y="23"/>
                    <a:pt x="10" y="38"/>
                  </a:cubicBezTo>
                  <a:cubicBezTo>
                    <a:pt x="10" y="53"/>
                    <a:pt x="23" y="66"/>
                    <a:pt x="38" y="66"/>
                  </a:cubicBezTo>
                  <a:cubicBezTo>
                    <a:pt x="53" y="66"/>
                    <a:pt x="66" y="53"/>
                    <a:pt x="66" y="38"/>
                  </a:cubicBezTo>
                  <a:cubicBezTo>
                    <a:pt x="66" y="31"/>
                    <a:pt x="63" y="25"/>
                    <a:pt x="59" y="20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22"/>
                    <a:pt x="72" y="30"/>
                    <a:pt x="72" y="38"/>
                  </a:cubicBezTo>
                  <a:cubicBezTo>
                    <a:pt x="72" y="57"/>
                    <a:pt x="57" y="72"/>
                    <a:pt x="38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57">
              <a:extLst>
                <a:ext uri="{FF2B5EF4-FFF2-40B4-BE49-F238E27FC236}">
                  <a16:creationId xmlns:a16="http://schemas.microsoft.com/office/drawing/2014/main" xmlns="" id="{AC14D4C1-4737-411E-AE3E-52D22B169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3688" y="1082675"/>
              <a:ext cx="109538" cy="150813"/>
            </a:xfrm>
            <a:custGeom>
              <a:avLst/>
              <a:gdLst>
                <a:gd name="T0" fmla="*/ 1 w 29"/>
                <a:gd name="T1" fmla="*/ 40 h 40"/>
                <a:gd name="T2" fmla="*/ 3 w 29"/>
                <a:gd name="T3" fmla="*/ 39 h 40"/>
                <a:gd name="T4" fmla="*/ 29 w 29"/>
                <a:gd name="T5" fmla="*/ 13 h 40"/>
                <a:gd name="T6" fmla="*/ 29 w 29"/>
                <a:gd name="T7" fmla="*/ 12 h 40"/>
                <a:gd name="T8" fmla="*/ 29 w 29"/>
                <a:gd name="T9" fmla="*/ 11 h 40"/>
                <a:gd name="T10" fmla="*/ 2 w 29"/>
                <a:gd name="T11" fmla="*/ 0 h 40"/>
                <a:gd name="T12" fmla="*/ 0 w 29"/>
                <a:gd name="T13" fmla="*/ 2 h 40"/>
                <a:gd name="T14" fmla="*/ 0 w 29"/>
                <a:gd name="T15" fmla="*/ 10 h 40"/>
                <a:gd name="T16" fmla="*/ 0 w 29"/>
                <a:gd name="T17" fmla="*/ 38 h 40"/>
                <a:gd name="T18" fmla="*/ 1 w 29"/>
                <a:gd name="T19" fmla="*/ 40 h 40"/>
                <a:gd name="T20" fmla="*/ 11 w 29"/>
                <a:gd name="T21" fmla="*/ 29 h 40"/>
                <a:gd name="T22" fmla="*/ 10 w 29"/>
                <a:gd name="T23" fmla="*/ 28 h 40"/>
                <a:gd name="T24" fmla="*/ 10 w 29"/>
                <a:gd name="T25" fmla="*/ 22 h 40"/>
                <a:gd name="T26" fmla="*/ 16 w 29"/>
                <a:gd name="T27" fmla="*/ 22 h 40"/>
                <a:gd name="T28" fmla="*/ 17 w 29"/>
                <a:gd name="T29" fmla="*/ 23 h 40"/>
                <a:gd name="T30" fmla="*/ 11 w 29"/>
                <a:gd name="T31" fmla="*/ 29 h 40"/>
                <a:gd name="T32" fmla="*/ 4 w 29"/>
                <a:gd name="T33" fmla="*/ 4 h 40"/>
                <a:gd name="T34" fmla="*/ 25 w 29"/>
                <a:gd name="T35" fmla="*/ 12 h 40"/>
                <a:gd name="T36" fmla="*/ 22 w 29"/>
                <a:gd name="T37" fmla="*/ 15 h 40"/>
                <a:gd name="T38" fmla="*/ 4 w 29"/>
                <a:gd name="T39" fmla="*/ 8 h 40"/>
                <a:gd name="T40" fmla="*/ 4 w 29"/>
                <a:gd name="T41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0">
                  <a:moveTo>
                    <a:pt x="1" y="40"/>
                  </a:moveTo>
                  <a:cubicBezTo>
                    <a:pt x="2" y="40"/>
                    <a:pt x="3" y="40"/>
                    <a:pt x="3" y="39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1" y="4"/>
                    <a:pt x="1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1" y="40"/>
                  </a:cubicBezTo>
                  <a:close/>
                  <a:moveTo>
                    <a:pt x="11" y="29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" y="26"/>
                    <a:pt x="8" y="24"/>
                    <a:pt x="10" y="22"/>
                  </a:cubicBezTo>
                  <a:cubicBezTo>
                    <a:pt x="11" y="20"/>
                    <a:pt x="14" y="20"/>
                    <a:pt x="16" y="22"/>
                  </a:cubicBezTo>
                  <a:cubicBezTo>
                    <a:pt x="17" y="23"/>
                    <a:pt x="17" y="23"/>
                    <a:pt x="17" y="23"/>
                  </a:cubicBezTo>
                  <a:lnTo>
                    <a:pt x="11" y="29"/>
                  </a:lnTo>
                  <a:close/>
                  <a:moveTo>
                    <a:pt x="4" y="4"/>
                  </a:moveTo>
                  <a:cubicBezTo>
                    <a:pt x="12" y="5"/>
                    <a:pt x="19" y="7"/>
                    <a:pt x="25" y="12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7" y="11"/>
                    <a:pt x="11" y="8"/>
                    <a:pt x="4" y="8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41C494A2-4279-496B-BFD0-8EE90B14CBEA}"/>
              </a:ext>
            </a:extLst>
          </p:cNvPr>
          <p:cNvGrpSpPr/>
          <p:nvPr/>
        </p:nvGrpSpPr>
        <p:grpSpPr>
          <a:xfrm>
            <a:off x="3142149" y="818300"/>
            <a:ext cx="2005712" cy="2560236"/>
            <a:chOff x="9199563" y="1098550"/>
            <a:chExt cx="269875" cy="344488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22" name="Freeform 138">
              <a:extLst>
                <a:ext uri="{FF2B5EF4-FFF2-40B4-BE49-F238E27FC236}">
                  <a16:creationId xmlns:a16="http://schemas.microsoft.com/office/drawing/2014/main" xmlns="" id="{1056552B-651E-4D19-8F88-4DE19E5B4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3851" y="1098550"/>
              <a:ext cx="120650" cy="179388"/>
            </a:xfrm>
            <a:custGeom>
              <a:avLst/>
              <a:gdLst>
                <a:gd name="T0" fmla="*/ 12 w 32"/>
                <a:gd name="T1" fmla="*/ 36 h 48"/>
                <a:gd name="T2" fmla="*/ 18 w 32"/>
                <a:gd name="T3" fmla="*/ 42 h 48"/>
                <a:gd name="T4" fmla="*/ 32 w 32"/>
                <a:gd name="T5" fmla="*/ 48 h 48"/>
                <a:gd name="T6" fmla="*/ 28 w 32"/>
                <a:gd name="T7" fmla="*/ 0 h 48"/>
                <a:gd name="T8" fmla="*/ 16 w 32"/>
                <a:gd name="T9" fmla="*/ 1 h 48"/>
                <a:gd name="T10" fmla="*/ 19 w 32"/>
                <a:gd name="T11" fmla="*/ 38 h 48"/>
                <a:gd name="T12" fmla="*/ 10 w 32"/>
                <a:gd name="T13" fmla="*/ 8 h 48"/>
                <a:gd name="T14" fmla="*/ 4 w 32"/>
                <a:gd name="T15" fmla="*/ 8 h 48"/>
                <a:gd name="T16" fmla="*/ 0 w 32"/>
                <a:gd name="T17" fmla="*/ 16 h 48"/>
                <a:gd name="T18" fmla="*/ 6 w 32"/>
                <a:gd name="T19" fmla="*/ 36 h 48"/>
                <a:gd name="T20" fmla="*/ 12 w 32"/>
                <a:gd name="T21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8">
                  <a:moveTo>
                    <a:pt x="12" y="36"/>
                  </a:moveTo>
                  <a:cubicBezTo>
                    <a:pt x="15" y="36"/>
                    <a:pt x="18" y="39"/>
                    <a:pt x="18" y="42"/>
                  </a:cubicBezTo>
                  <a:cubicBezTo>
                    <a:pt x="18" y="45"/>
                    <a:pt x="24" y="48"/>
                    <a:pt x="32" y="4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" y="36"/>
                    <a:pt x="6" y="36"/>
                    <a:pt x="6" y="36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39">
              <a:extLst>
                <a:ext uri="{FF2B5EF4-FFF2-40B4-BE49-F238E27FC236}">
                  <a16:creationId xmlns:a16="http://schemas.microsoft.com/office/drawing/2014/main" xmlns="" id="{1C829697-3269-4538-A807-5891DC972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1" y="1098550"/>
              <a:ext cx="119063" cy="179388"/>
            </a:xfrm>
            <a:custGeom>
              <a:avLst/>
              <a:gdLst>
                <a:gd name="T0" fmla="*/ 14 w 32"/>
                <a:gd name="T1" fmla="*/ 42 h 48"/>
                <a:gd name="T2" fmla="*/ 20 w 32"/>
                <a:gd name="T3" fmla="*/ 36 h 48"/>
                <a:gd name="T4" fmla="*/ 26 w 32"/>
                <a:gd name="T5" fmla="*/ 36 h 48"/>
                <a:gd name="T6" fmla="*/ 32 w 32"/>
                <a:gd name="T7" fmla="*/ 16 h 48"/>
                <a:gd name="T8" fmla="*/ 28 w 32"/>
                <a:gd name="T9" fmla="*/ 8 h 48"/>
                <a:gd name="T10" fmla="*/ 22 w 32"/>
                <a:gd name="T11" fmla="*/ 8 h 48"/>
                <a:gd name="T12" fmla="*/ 13 w 32"/>
                <a:gd name="T13" fmla="*/ 38 h 48"/>
                <a:gd name="T14" fmla="*/ 16 w 32"/>
                <a:gd name="T15" fmla="*/ 1 h 48"/>
                <a:gd name="T16" fmla="*/ 4 w 32"/>
                <a:gd name="T17" fmla="*/ 0 h 48"/>
                <a:gd name="T18" fmla="*/ 0 w 32"/>
                <a:gd name="T19" fmla="*/ 48 h 48"/>
                <a:gd name="T20" fmla="*/ 14 w 32"/>
                <a:gd name="T21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8">
                  <a:moveTo>
                    <a:pt x="14" y="42"/>
                  </a:moveTo>
                  <a:cubicBezTo>
                    <a:pt x="14" y="39"/>
                    <a:pt x="17" y="36"/>
                    <a:pt x="20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13" y="38"/>
                    <a:pt x="13" y="3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8" y="48"/>
                    <a:pt x="14" y="45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40">
              <a:extLst>
                <a:ext uri="{FF2B5EF4-FFF2-40B4-BE49-F238E27FC236}">
                  <a16:creationId xmlns:a16="http://schemas.microsoft.com/office/drawing/2014/main" xmlns="" id="{70219718-227B-4EF6-84F5-80CF2830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1354138"/>
              <a:ext cx="225425" cy="30163"/>
            </a:xfrm>
            <a:custGeom>
              <a:avLst/>
              <a:gdLst>
                <a:gd name="T0" fmla="*/ 142 w 142"/>
                <a:gd name="T1" fmla="*/ 0 h 19"/>
                <a:gd name="T2" fmla="*/ 0 w 142"/>
                <a:gd name="T3" fmla="*/ 0 h 19"/>
                <a:gd name="T4" fmla="*/ 5 w 142"/>
                <a:gd name="T5" fmla="*/ 19 h 19"/>
                <a:gd name="T6" fmla="*/ 137 w 142"/>
                <a:gd name="T7" fmla="*/ 19 h 19"/>
                <a:gd name="T8" fmla="*/ 142 w 14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9">
                  <a:moveTo>
                    <a:pt x="142" y="0"/>
                  </a:moveTo>
                  <a:lnTo>
                    <a:pt x="0" y="0"/>
                  </a:lnTo>
                  <a:lnTo>
                    <a:pt x="5" y="19"/>
                  </a:lnTo>
                  <a:lnTo>
                    <a:pt x="137" y="19"/>
                  </a:lnTo>
                  <a:lnTo>
                    <a:pt x="1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41">
              <a:extLst>
                <a:ext uri="{FF2B5EF4-FFF2-40B4-BE49-F238E27FC236}">
                  <a16:creationId xmlns:a16="http://schemas.microsoft.com/office/drawing/2014/main" xmlns="" id="{DE35C280-EFE5-4E85-A672-6D6D76A73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9563" y="1247775"/>
              <a:ext cx="269875" cy="90488"/>
            </a:xfrm>
            <a:custGeom>
              <a:avLst/>
              <a:gdLst>
                <a:gd name="T0" fmla="*/ 72 w 72"/>
                <a:gd name="T1" fmla="*/ 1 h 24"/>
                <a:gd name="T2" fmla="*/ 70 w 72"/>
                <a:gd name="T3" fmla="*/ 0 h 24"/>
                <a:gd name="T4" fmla="*/ 56 w 72"/>
                <a:gd name="T5" fmla="*/ 0 h 24"/>
                <a:gd name="T6" fmla="*/ 54 w 72"/>
                <a:gd name="T7" fmla="*/ 2 h 24"/>
                <a:gd name="T8" fmla="*/ 18 w 72"/>
                <a:gd name="T9" fmla="*/ 2 h 24"/>
                <a:gd name="T10" fmla="*/ 16 w 72"/>
                <a:gd name="T11" fmla="*/ 0 h 24"/>
                <a:gd name="T12" fmla="*/ 2 w 72"/>
                <a:gd name="T13" fmla="*/ 0 h 24"/>
                <a:gd name="T14" fmla="*/ 0 w 72"/>
                <a:gd name="T15" fmla="*/ 1 h 24"/>
                <a:gd name="T16" fmla="*/ 0 w 72"/>
                <a:gd name="T17" fmla="*/ 3 h 24"/>
                <a:gd name="T18" fmla="*/ 5 w 72"/>
                <a:gd name="T19" fmla="*/ 24 h 24"/>
                <a:gd name="T20" fmla="*/ 67 w 72"/>
                <a:gd name="T21" fmla="*/ 24 h 24"/>
                <a:gd name="T22" fmla="*/ 72 w 72"/>
                <a:gd name="T23" fmla="*/ 3 h 24"/>
                <a:gd name="T24" fmla="*/ 72 w 72"/>
                <a:gd name="T2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4">
                  <a:moveTo>
                    <a:pt x="72" y="1"/>
                  </a:moveTo>
                  <a:cubicBezTo>
                    <a:pt x="71" y="0"/>
                    <a:pt x="71" y="0"/>
                    <a:pt x="7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4" y="15"/>
                    <a:pt x="18" y="15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2"/>
                    <a:pt x="72" y="1"/>
                    <a:pt x="7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42">
              <a:extLst>
                <a:ext uri="{FF2B5EF4-FFF2-40B4-BE49-F238E27FC236}">
                  <a16:creationId xmlns:a16="http://schemas.microsoft.com/office/drawing/2014/main" xmlns="" id="{A1099DEA-601C-42BC-BB93-C89C80411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2901" y="1398588"/>
              <a:ext cx="203200" cy="44450"/>
            </a:xfrm>
            <a:custGeom>
              <a:avLst/>
              <a:gdLst>
                <a:gd name="T0" fmla="*/ 0 w 54"/>
                <a:gd name="T1" fmla="*/ 0 h 12"/>
                <a:gd name="T2" fmla="*/ 3 w 54"/>
                <a:gd name="T3" fmla="*/ 11 h 12"/>
                <a:gd name="T4" fmla="*/ 5 w 54"/>
                <a:gd name="T5" fmla="*/ 12 h 12"/>
                <a:gd name="T6" fmla="*/ 49 w 54"/>
                <a:gd name="T7" fmla="*/ 12 h 12"/>
                <a:gd name="T8" fmla="*/ 51 w 54"/>
                <a:gd name="T9" fmla="*/ 11 h 12"/>
                <a:gd name="T10" fmla="*/ 54 w 54"/>
                <a:gd name="T11" fmla="*/ 0 h 12"/>
                <a:gd name="T12" fmla="*/ 0 w 5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0" y="0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2"/>
                    <a:pt x="51" y="11"/>
                    <a:pt x="51" y="11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54739284-C952-40B4-B6AE-C9919AA93D31}"/>
              </a:ext>
            </a:extLst>
          </p:cNvPr>
          <p:cNvGrpSpPr/>
          <p:nvPr/>
        </p:nvGrpSpPr>
        <p:grpSpPr>
          <a:xfrm>
            <a:off x="8009474" y="2705534"/>
            <a:ext cx="2527322" cy="2516240"/>
            <a:chOff x="5554663" y="1082675"/>
            <a:chExt cx="3619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19" name="Freeform 53">
              <a:extLst>
                <a:ext uri="{FF2B5EF4-FFF2-40B4-BE49-F238E27FC236}">
                  <a16:creationId xmlns:a16="http://schemas.microsoft.com/office/drawing/2014/main" xmlns="" id="{C364EF44-58AD-4D02-98B3-022EE85ED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330325"/>
              <a:ext cx="361950" cy="60325"/>
            </a:xfrm>
            <a:custGeom>
              <a:avLst/>
              <a:gdLst>
                <a:gd name="T0" fmla="*/ 86 w 96"/>
                <a:gd name="T1" fmla="*/ 0 h 16"/>
                <a:gd name="T2" fmla="*/ 10 w 96"/>
                <a:gd name="T3" fmla="*/ 0 h 16"/>
                <a:gd name="T4" fmla="*/ 0 w 96"/>
                <a:gd name="T5" fmla="*/ 8 h 16"/>
                <a:gd name="T6" fmla="*/ 10 w 96"/>
                <a:gd name="T7" fmla="*/ 16 h 16"/>
                <a:gd name="T8" fmla="*/ 86 w 96"/>
                <a:gd name="T9" fmla="*/ 16 h 16"/>
                <a:gd name="T10" fmla="*/ 96 w 96"/>
                <a:gd name="T11" fmla="*/ 8 h 16"/>
                <a:gd name="T12" fmla="*/ 86 w 96"/>
                <a:gd name="T13" fmla="*/ 0 h 16"/>
                <a:gd name="T14" fmla="*/ 85 w 96"/>
                <a:gd name="T15" fmla="*/ 6 h 16"/>
                <a:gd name="T16" fmla="*/ 73 w 96"/>
                <a:gd name="T17" fmla="*/ 14 h 16"/>
                <a:gd name="T18" fmla="*/ 72 w 96"/>
                <a:gd name="T19" fmla="*/ 14 h 16"/>
                <a:gd name="T20" fmla="*/ 71 w 96"/>
                <a:gd name="T21" fmla="*/ 14 h 16"/>
                <a:gd name="T22" fmla="*/ 47 w 96"/>
                <a:gd name="T23" fmla="*/ 6 h 16"/>
                <a:gd name="T24" fmla="*/ 46 w 96"/>
                <a:gd name="T25" fmla="*/ 4 h 16"/>
                <a:gd name="T26" fmla="*/ 48 w 96"/>
                <a:gd name="T27" fmla="*/ 2 h 16"/>
                <a:gd name="T28" fmla="*/ 84 w 96"/>
                <a:gd name="T29" fmla="*/ 2 h 16"/>
                <a:gd name="T30" fmla="*/ 86 w 96"/>
                <a:gd name="T31" fmla="*/ 3 h 16"/>
                <a:gd name="T32" fmla="*/ 85 w 96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">
                  <a:moveTo>
                    <a:pt x="8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6"/>
                    <a:pt x="10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92" y="16"/>
                    <a:pt x="96" y="13"/>
                    <a:pt x="96" y="8"/>
                  </a:cubicBezTo>
                  <a:cubicBezTo>
                    <a:pt x="96" y="3"/>
                    <a:pt x="92" y="0"/>
                    <a:pt x="86" y="0"/>
                  </a:cubicBezTo>
                  <a:close/>
                  <a:moveTo>
                    <a:pt x="85" y="6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2" y="14"/>
                    <a:pt x="72" y="14"/>
                  </a:cubicBezTo>
                  <a:cubicBezTo>
                    <a:pt x="72" y="14"/>
                    <a:pt x="72" y="14"/>
                    <a:pt x="71" y="14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6"/>
                    <a:pt x="46" y="5"/>
                    <a:pt x="46" y="4"/>
                  </a:cubicBezTo>
                  <a:cubicBezTo>
                    <a:pt x="46" y="3"/>
                    <a:pt x="47" y="2"/>
                    <a:pt x="48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5" y="2"/>
                    <a:pt x="86" y="3"/>
                    <a:pt x="86" y="3"/>
                  </a:cubicBezTo>
                  <a:cubicBezTo>
                    <a:pt x="86" y="4"/>
                    <a:pt x="86" y="5"/>
                    <a:pt x="8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54">
              <a:extLst>
                <a:ext uri="{FF2B5EF4-FFF2-40B4-BE49-F238E27FC236}">
                  <a16:creationId xmlns:a16="http://schemas.microsoft.com/office/drawing/2014/main" xmlns="" id="{05A499DC-D486-46CF-A1D0-675C5D090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6" y="1398588"/>
              <a:ext cx="301625" cy="44450"/>
            </a:xfrm>
            <a:custGeom>
              <a:avLst/>
              <a:gdLst>
                <a:gd name="T0" fmla="*/ 78 w 80"/>
                <a:gd name="T1" fmla="*/ 0 h 12"/>
                <a:gd name="T2" fmla="*/ 2 w 80"/>
                <a:gd name="T3" fmla="*/ 0 h 12"/>
                <a:gd name="T4" fmla="*/ 0 w 80"/>
                <a:gd name="T5" fmla="*/ 2 h 12"/>
                <a:gd name="T6" fmla="*/ 0 w 80"/>
                <a:gd name="T7" fmla="*/ 4 h 12"/>
                <a:gd name="T8" fmla="*/ 10 w 80"/>
                <a:gd name="T9" fmla="*/ 12 h 12"/>
                <a:gd name="T10" fmla="*/ 70 w 80"/>
                <a:gd name="T11" fmla="*/ 12 h 12"/>
                <a:gd name="T12" fmla="*/ 80 w 80"/>
                <a:gd name="T13" fmla="*/ 4 h 12"/>
                <a:gd name="T14" fmla="*/ 80 w 80"/>
                <a:gd name="T15" fmla="*/ 2 h 12"/>
                <a:gd name="T16" fmla="*/ 78 w 8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2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9"/>
                    <a:pt x="4" y="12"/>
                    <a:pt x="1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6" y="12"/>
                    <a:pt x="80" y="9"/>
                    <a:pt x="80" y="4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55">
              <a:extLst>
                <a:ext uri="{FF2B5EF4-FFF2-40B4-BE49-F238E27FC236}">
                  <a16:creationId xmlns:a16="http://schemas.microsoft.com/office/drawing/2014/main" xmlns="" id="{10581E59-D144-494D-ACAE-545047AD67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082675"/>
              <a:ext cx="361950" cy="241300"/>
            </a:xfrm>
            <a:custGeom>
              <a:avLst/>
              <a:gdLst>
                <a:gd name="T0" fmla="*/ 96 w 96"/>
                <a:gd name="T1" fmla="*/ 44 h 64"/>
                <a:gd name="T2" fmla="*/ 88 w 96"/>
                <a:gd name="T3" fmla="*/ 36 h 64"/>
                <a:gd name="T4" fmla="*/ 48 w 96"/>
                <a:gd name="T5" fmla="*/ 0 h 64"/>
                <a:gd name="T6" fmla="*/ 8 w 96"/>
                <a:gd name="T7" fmla="*/ 36 h 64"/>
                <a:gd name="T8" fmla="*/ 0 w 96"/>
                <a:gd name="T9" fmla="*/ 44 h 64"/>
                <a:gd name="T10" fmla="*/ 2 w 96"/>
                <a:gd name="T11" fmla="*/ 49 h 64"/>
                <a:gd name="T12" fmla="*/ 0 w 96"/>
                <a:gd name="T13" fmla="*/ 54 h 64"/>
                <a:gd name="T14" fmla="*/ 10 w 96"/>
                <a:gd name="T15" fmla="*/ 64 h 64"/>
                <a:gd name="T16" fmla="*/ 86 w 96"/>
                <a:gd name="T17" fmla="*/ 64 h 64"/>
                <a:gd name="T18" fmla="*/ 96 w 96"/>
                <a:gd name="T19" fmla="*/ 54 h 64"/>
                <a:gd name="T20" fmla="*/ 94 w 96"/>
                <a:gd name="T21" fmla="*/ 49 h 64"/>
                <a:gd name="T22" fmla="*/ 96 w 96"/>
                <a:gd name="T23" fmla="*/ 44 h 64"/>
                <a:gd name="T24" fmla="*/ 68 w 96"/>
                <a:gd name="T25" fmla="*/ 16 h 64"/>
                <a:gd name="T26" fmla="*/ 70 w 96"/>
                <a:gd name="T27" fmla="*/ 18 h 64"/>
                <a:gd name="T28" fmla="*/ 68 w 96"/>
                <a:gd name="T29" fmla="*/ 20 h 64"/>
                <a:gd name="T30" fmla="*/ 66 w 96"/>
                <a:gd name="T31" fmla="*/ 18 h 64"/>
                <a:gd name="T32" fmla="*/ 68 w 96"/>
                <a:gd name="T33" fmla="*/ 16 h 64"/>
                <a:gd name="T34" fmla="*/ 58 w 96"/>
                <a:gd name="T35" fmla="*/ 12 h 64"/>
                <a:gd name="T36" fmla="*/ 60 w 96"/>
                <a:gd name="T37" fmla="*/ 14 h 64"/>
                <a:gd name="T38" fmla="*/ 58 w 96"/>
                <a:gd name="T39" fmla="*/ 16 h 64"/>
                <a:gd name="T40" fmla="*/ 56 w 96"/>
                <a:gd name="T41" fmla="*/ 14 h 64"/>
                <a:gd name="T42" fmla="*/ 58 w 96"/>
                <a:gd name="T43" fmla="*/ 12 h 64"/>
                <a:gd name="T44" fmla="*/ 48 w 96"/>
                <a:gd name="T45" fmla="*/ 16 h 64"/>
                <a:gd name="T46" fmla="*/ 50 w 96"/>
                <a:gd name="T47" fmla="*/ 18 h 64"/>
                <a:gd name="T48" fmla="*/ 48 w 96"/>
                <a:gd name="T49" fmla="*/ 20 h 64"/>
                <a:gd name="T50" fmla="*/ 46 w 96"/>
                <a:gd name="T51" fmla="*/ 18 h 64"/>
                <a:gd name="T52" fmla="*/ 48 w 96"/>
                <a:gd name="T53" fmla="*/ 16 h 64"/>
                <a:gd name="T54" fmla="*/ 38 w 96"/>
                <a:gd name="T55" fmla="*/ 12 h 64"/>
                <a:gd name="T56" fmla="*/ 40 w 96"/>
                <a:gd name="T57" fmla="*/ 14 h 64"/>
                <a:gd name="T58" fmla="*/ 38 w 96"/>
                <a:gd name="T59" fmla="*/ 16 h 64"/>
                <a:gd name="T60" fmla="*/ 36 w 96"/>
                <a:gd name="T61" fmla="*/ 14 h 64"/>
                <a:gd name="T62" fmla="*/ 38 w 96"/>
                <a:gd name="T63" fmla="*/ 12 h 64"/>
                <a:gd name="T64" fmla="*/ 28 w 96"/>
                <a:gd name="T65" fmla="*/ 16 h 64"/>
                <a:gd name="T66" fmla="*/ 30 w 96"/>
                <a:gd name="T67" fmla="*/ 18 h 64"/>
                <a:gd name="T68" fmla="*/ 28 w 96"/>
                <a:gd name="T69" fmla="*/ 20 h 64"/>
                <a:gd name="T70" fmla="*/ 26 w 96"/>
                <a:gd name="T71" fmla="*/ 18 h 64"/>
                <a:gd name="T72" fmla="*/ 28 w 96"/>
                <a:gd name="T73" fmla="*/ 16 h 64"/>
                <a:gd name="T74" fmla="*/ 86 w 96"/>
                <a:gd name="T75" fmla="*/ 48 h 64"/>
                <a:gd name="T76" fmla="*/ 81 w 96"/>
                <a:gd name="T77" fmla="*/ 47 h 64"/>
                <a:gd name="T78" fmla="*/ 80 w 96"/>
                <a:gd name="T79" fmla="*/ 46 h 64"/>
                <a:gd name="T80" fmla="*/ 78 w 96"/>
                <a:gd name="T81" fmla="*/ 47 h 64"/>
                <a:gd name="T82" fmla="*/ 70 w 96"/>
                <a:gd name="T83" fmla="*/ 52 h 64"/>
                <a:gd name="T84" fmla="*/ 62 w 96"/>
                <a:gd name="T85" fmla="*/ 47 h 64"/>
                <a:gd name="T86" fmla="*/ 60 w 96"/>
                <a:gd name="T87" fmla="*/ 46 h 64"/>
                <a:gd name="T88" fmla="*/ 58 w 96"/>
                <a:gd name="T89" fmla="*/ 47 h 64"/>
                <a:gd name="T90" fmla="*/ 48 w 96"/>
                <a:gd name="T91" fmla="*/ 52 h 64"/>
                <a:gd name="T92" fmla="*/ 38 w 96"/>
                <a:gd name="T93" fmla="*/ 47 h 64"/>
                <a:gd name="T94" fmla="*/ 36 w 96"/>
                <a:gd name="T95" fmla="*/ 46 h 64"/>
                <a:gd name="T96" fmla="*/ 34 w 96"/>
                <a:gd name="T97" fmla="*/ 47 h 64"/>
                <a:gd name="T98" fmla="*/ 26 w 96"/>
                <a:gd name="T99" fmla="*/ 52 h 64"/>
                <a:gd name="T100" fmla="*/ 18 w 96"/>
                <a:gd name="T101" fmla="*/ 47 h 64"/>
                <a:gd name="T102" fmla="*/ 16 w 96"/>
                <a:gd name="T103" fmla="*/ 46 h 64"/>
                <a:gd name="T104" fmla="*/ 15 w 96"/>
                <a:gd name="T105" fmla="*/ 47 h 64"/>
                <a:gd name="T106" fmla="*/ 10 w 96"/>
                <a:gd name="T107" fmla="*/ 48 h 64"/>
                <a:gd name="T108" fmla="*/ 4 w 96"/>
                <a:gd name="T109" fmla="*/ 44 h 64"/>
                <a:gd name="T110" fmla="*/ 10 w 96"/>
                <a:gd name="T111" fmla="*/ 40 h 64"/>
                <a:gd name="T112" fmla="*/ 86 w 96"/>
                <a:gd name="T113" fmla="*/ 40 h 64"/>
                <a:gd name="T114" fmla="*/ 92 w 96"/>
                <a:gd name="T115" fmla="*/ 44 h 64"/>
                <a:gd name="T116" fmla="*/ 86 w 96"/>
                <a:gd name="T117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64">
                  <a:moveTo>
                    <a:pt x="96" y="44"/>
                  </a:moveTo>
                  <a:cubicBezTo>
                    <a:pt x="96" y="39"/>
                    <a:pt x="91" y="37"/>
                    <a:pt x="88" y="36"/>
                  </a:cubicBezTo>
                  <a:cubicBezTo>
                    <a:pt x="87" y="16"/>
                    <a:pt x="70" y="0"/>
                    <a:pt x="48" y="0"/>
                  </a:cubicBezTo>
                  <a:cubicBezTo>
                    <a:pt x="26" y="0"/>
                    <a:pt x="9" y="16"/>
                    <a:pt x="8" y="36"/>
                  </a:cubicBezTo>
                  <a:cubicBezTo>
                    <a:pt x="5" y="37"/>
                    <a:pt x="0" y="39"/>
                    <a:pt x="0" y="44"/>
                  </a:cubicBezTo>
                  <a:cubicBezTo>
                    <a:pt x="0" y="46"/>
                    <a:pt x="1" y="48"/>
                    <a:pt x="2" y="49"/>
                  </a:cubicBezTo>
                  <a:cubicBezTo>
                    <a:pt x="1" y="50"/>
                    <a:pt x="0" y="52"/>
                    <a:pt x="0" y="54"/>
                  </a:cubicBezTo>
                  <a:cubicBezTo>
                    <a:pt x="0" y="60"/>
                    <a:pt x="4" y="64"/>
                    <a:pt x="10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2" y="64"/>
                    <a:pt x="96" y="60"/>
                    <a:pt x="96" y="54"/>
                  </a:cubicBezTo>
                  <a:cubicBezTo>
                    <a:pt x="96" y="52"/>
                    <a:pt x="95" y="50"/>
                    <a:pt x="94" y="49"/>
                  </a:cubicBezTo>
                  <a:cubicBezTo>
                    <a:pt x="95" y="48"/>
                    <a:pt x="96" y="46"/>
                    <a:pt x="96" y="44"/>
                  </a:cubicBezTo>
                  <a:close/>
                  <a:moveTo>
                    <a:pt x="68" y="16"/>
                  </a:moveTo>
                  <a:cubicBezTo>
                    <a:pt x="69" y="16"/>
                    <a:pt x="70" y="17"/>
                    <a:pt x="70" y="18"/>
                  </a:cubicBezTo>
                  <a:cubicBezTo>
                    <a:pt x="70" y="19"/>
                    <a:pt x="69" y="20"/>
                    <a:pt x="68" y="20"/>
                  </a:cubicBezTo>
                  <a:cubicBezTo>
                    <a:pt x="67" y="20"/>
                    <a:pt x="66" y="19"/>
                    <a:pt x="66" y="18"/>
                  </a:cubicBezTo>
                  <a:cubicBezTo>
                    <a:pt x="66" y="17"/>
                    <a:pt x="67" y="16"/>
                    <a:pt x="68" y="16"/>
                  </a:cubicBezTo>
                  <a:close/>
                  <a:moveTo>
                    <a:pt x="58" y="12"/>
                  </a:moveTo>
                  <a:cubicBezTo>
                    <a:pt x="59" y="12"/>
                    <a:pt x="60" y="13"/>
                    <a:pt x="60" y="14"/>
                  </a:cubicBezTo>
                  <a:cubicBezTo>
                    <a:pt x="60" y="15"/>
                    <a:pt x="59" y="16"/>
                    <a:pt x="58" y="16"/>
                  </a:cubicBezTo>
                  <a:cubicBezTo>
                    <a:pt x="57" y="16"/>
                    <a:pt x="56" y="15"/>
                    <a:pt x="56" y="14"/>
                  </a:cubicBezTo>
                  <a:cubicBezTo>
                    <a:pt x="56" y="13"/>
                    <a:pt x="57" y="12"/>
                    <a:pt x="58" y="12"/>
                  </a:cubicBezTo>
                  <a:close/>
                  <a:moveTo>
                    <a:pt x="48" y="16"/>
                  </a:moveTo>
                  <a:cubicBezTo>
                    <a:pt x="49" y="16"/>
                    <a:pt x="50" y="17"/>
                    <a:pt x="50" y="18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7"/>
                    <a:pt x="47" y="16"/>
                    <a:pt x="48" y="16"/>
                  </a:cubicBezTo>
                  <a:close/>
                  <a:moveTo>
                    <a:pt x="38" y="12"/>
                  </a:moveTo>
                  <a:cubicBezTo>
                    <a:pt x="39" y="12"/>
                    <a:pt x="40" y="13"/>
                    <a:pt x="40" y="14"/>
                  </a:cubicBezTo>
                  <a:cubicBezTo>
                    <a:pt x="40" y="15"/>
                    <a:pt x="39" y="16"/>
                    <a:pt x="38" y="16"/>
                  </a:cubicBezTo>
                  <a:cubicBezTo>
                    <a:pt x="37" y="16"/>
                    <a:pt x="36" y="15"/>
                    <a:pt x="36" y="14"/>
                  </a:cubicBezTo>
                  <a:cubicBezTo>
                    <a:pt x="36" y="13"/>
                    <a:pt x="37" y="12"/>
                    <a:pt x="38" y="12"/>
                  </a:cubicBezTo>
                  <a:close/>
                  <a:moveTo>
                    <a:pt x="28" y="16"/>
                  </a:moveTo>
                  <a:cubicBezTo>
                    <a:pt x="29" y="16"/>
                    <a:pt x="30" y="17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ubicBezTo>
                    <a:pt x="27" y="20"/>
                    <a:pt x="26" y="19"/>
                    <a:pt x="26" y="18"/>
                  </a:cubicBezTo>
                  <a:cubicBezTo>
                    <a:pt x="26" y="17"/>
                    <a:pt x="27" y="16"/>
                    <a:pt x="28" y="16"/>
                  </a:cubicBezTo>
                  <a:close/>
                  <a:moveTo>
                    <a:pt x="86" y="48"/>
                  </a:moveTo>
                  <a:cubicBezTo>
                    <a:pt x="84" y="48"/>
                    <a:pt x="82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79" y="46"/>
                    <a:pt x="79" y="47"/>
                    <a:pt x="78" y="47"/>
                  </a:cubicBezTo>
                  <a:cubicBezTo>
                    <a:pt x="77" y="49"/>
                    <a:pt x="75" y="52"/>
                    <a:pt x="70" y="52"/>
                  </a:cubicBezTo>
                  <a:cubicBezTo>
                    <a:pt x="66" y="52"/>
                    <a:pt x="63" y="51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58" y="46"/>
                    <a:pt x="58" y="47"/>
                  </a:cubicBezTo>
                  <a:cubicBezTo>
                    <a:pt x="57" y="51"/>
                    <a:pt x="52" y="52"/>
                    <a:pt x="48" y="52"/>
                  </a:cubicBezTo>
                  <a:cubicBezTo>
                    <a:pt x="44" y="52"/>
                    <a:pt x="39" y="51"/>
                    <a:pt x="38" y="47"/>
                  </a:cubicBezTo>
                  <a:cubicBezTo>
                    <a:pt x="38" y="46"/>
                    <a:pt x="37" y="46"/>
                    <a:pt x="36" y="46"/>
                  </a:cubicBezTo>
                  <a:cubicBezTo>
                    <a:pt x="35" y="46"/>
                    <a:pt x="34" y="46"/>
                    <a:pt x="34" y="47"/>
                  </a:cubicBezTo>
                  <a:cubicBezTo>
                    <a:pt x="33" y="51"/>
                    <a:pt x="30" y="52"/>
                    <a:pt x="26" y="52"/>
                  </a:cubicBezTo>
                  <a:cubicBezTo>
                    <a:pt x="21" y="52"/>
                    <a:pt x="19" y="49"/>
                    <a:pt x="18" y="47"/>
                  </a:cubicBezTo>
                  <a:cubicBezTo>
                    <a:pt x="17" y="47"/>
                    <a:pt x="17" y="46"/>
                    <a:pt x="16" y="46"/>
                  </a:cubicBezTo>
                  <a:cubicBezTo>
                    <a:pt x="16" y="46"/>
                    <a:pt x="15" y="46"/>
                    <a:pt x="15" y="47"/>
                  </a:cubicBezTo>
                  <a:cubicBezTo>
                    <a:pt x="14" y="47"/>
                    <a:pt x="12" y="48"/>
                    <a:pt x="10" y="48"/>
                  </a:cubicBezTo>
                  <a:cubicBezTo>
                    <a:pt x="4" y="48"/>
                    <a:pt x="4" y="45"/>
                    <a:pt x="4" y="44"/>
                  </a:cubicBezTo>
                  <a:cubicBezTo>
                    <a:pt x="4" y="42"/>
                    <a:pt x="8" y="40"/>
                    <a:pt x="10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8" y="40"/>
                    <a:pt x="92" y="42"/>
                    <a:pt x="92" y="44"/>
                  </a:cubicBezTo>
                  <a:cubicBezTo>
                    <a:pt x="92" y="45"/>
                    <a:pt x="92" y="48"/>
                    <a:pt x="8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9ABD17C-8F74-4AC4-99CE-36BAFD6112F7}"/>
              </a:ext>
            </a:extLst>
          </p:cNvPr>
          <p:cNvGrpSpPr/>
          <p:nvPr/>
        </p:nvGrpSpPr>
        <p:grpSpPr>
          <a:xfrm rot="11142038">
            <a:off x="6920086" y="-373447"/>
            <a:ext cx="2123695" cy="2678219"/>
            <a:chOff x="7748588" y="1082675"/>
            <a:chExt cx="2857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17" name="Freeform 56">
              <a:extLst>
                <a:ext uri="{FF2B5EF4-FFF2-40B4-BE49-F238E27FC236}">
                  <a16:creationId xmlns:a16="http://schemas.microsoft.com/office/drawing/2014/main" xmlns="" id="{85A85193-B92E-4D2B-BEFE-89A23BC38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8588" y="1157288"/>
              <a:ext cx="285750" cy="285750"/>
            </a:xfrm>
            <a:custGeom>
              <a:avLst/>
              <a:gdLst>
                <a:gd name="T0" fmla="*/ 65 w 76"/>
                <a:gd name="T1" fmla="*/ 11 h 76"/>
                <a:gd name="T2" fmla="*/ 62 w 76"/>
                <a:gd name="T3" fmla="*/ 11 h 76"/>
                <a:gd name="T4" fmla="*/ 40 w 76"/>
                <a:gd name="T5" fmla="*/ 33 h 76"/>
                <a:gd name="T6" fmla="*/ 40 w 76"/>
                <a:gd name="T7" fmla="*/ 2 h 76"/>
                <a:gd name="T8" fmla="*/ 38 w 76"/>
                <a:gd name="T9" fmla="*/ 0 h 76"/>
                <a:gd name="T10" fmla="*/ 0 w 76"/>
                <a:gd name="T11" fmla="*/ 38 h 76"/>
                <a:gd name="T12" fmla="*/ 38 w 76"/>
                <a:gd name="T13" fmla="*/ 76 h 76"/>
                <a:gd name="T14" fmla="*/ 76 w 76"/>
                <a:gd name="T15" fmla="*/ 38 h 76"/>
                <a:gd name="T16" fmla="*/ 65 w 76"/>
                <a:gd name="T17" fmla="*/ 11 h 76"/>
                <a:gd name="T18" fmla="*/ 53 w 76"/>
                <a:gd name="T19" fmla="*/ 23 h 76"/>
                <a:gd name="T20" fmla="*/ 54 w 76"/>
                <a:gd name="T21" fmla="*/ 24 h 76"/>
                <a:gd name="T22" fmla="*/ 54 w 76"/>
                <a:gd name="T23" fmla="*/ 30 h 76"/>
                <a:gd name="T24" fmla="*/ 48 w 76"/>
                <a:gd name="T25" fmla="*/ 30 h 76"/>
                <a:gd name="T26" fmla="*/ 47 w 76"/>
                <a:gd name="T27" fmla="*/ 29 h 76"/>
                <a:gd name="T28" fmla="*/ 53 w 76"/>
                <a:gd name="T29" fmla="*/ 23 h 76"/>
                <a:gd name="T30" fmla="*/ 60 w 76"/>
                <a:gd name="T31" fmla="*/ 42 h 76"/>
                <a:gd name="T32" fmla="*/ 54 w 76"/>
                <a:gd name="T33" fmla="*/ 48 h 76"/>
                <a:gd name="T34" fmla="*/ 48 w 76"/>
                <a:gd name="T35" fmla="*/ 42 h 76"/>
                <a:gd name="T36" fmla="*/ 54 w 76"/>
                <a:gd name="T37" fmla="*/ 36 h 76"/>
                <a:gd name="T38" fmla="*/ 60 w 76"/>
                <a:gd name="T39" fmla="*/ 42 h 76"/>
                <a:gd name="T40" fmla="*/ 40 w 76"/>
                <a:gd name="T41" fmla="*/ 48 h 76"/>
                <a:gd name="T42" fmla="*/ 46 w 76"/>
                <a:gd name="T43" fmla="*/ 54 h 76"/>
                <a:gd name="T44" fmla="*/ 40 w 76"/>
                <a:gd name="T45" fmla="*/ 60 h 76"/>
                <a:gd name="T46" fmla="*/ 34 w 76"/>
                <a:gd name="T47" fmla="*/ 54 h 76"/>
                <a:gd name="T48" fmla="*/ 40 w 76"/>
                <a:gd name="T49" fmla="*/ 48 h 76"/>
                <a:gd name="T50" fmla="*/ 28 w 76"/>
                <a:gd name="T51" fmla="*/ 30 h 76"/>
                <a:gd name="T52" fmla="*/ 22 w 76"/>
                <a:gd name="T53" fmla="*/ 24 h 76"/>
                <a:gd name="T54" fmla="*/ 28 w 76"/>
                <a:gd name="T55" fmla="*/ 18 h 76"/>
                <a:gd name="T56" fmla="*/ 34 w 76"/>
                <a:gd name="T57" fmla="*/ 24 h 76"/>
                <a:gd name="T58" fmla="*/ 28 w 76"/>
                <a:gd name="T59" fmla="*/ 30 h 76"/>
                <a:gd name="T60" fmla="*/ 30 w 76"/>
                <a:gd name="T61" fmla="*/ 42 h 76"/>
                <a:gd name="T62" fmla="*/ 24 w 76"/>
                <a:gd name="T63" fmla="*/ 48 h 76"/>
                <a:gd name="T64" fmla="*/ 18 w 76"/>
                <a:gd name="T65" fmla="*/ 42 h 76"/>
                <a:gd name="T66" fmla="*/ 24 w 76"/>
                <a:gd name="T67" fmla="*/ 36 h 76"/>
                <a:gd name="T68" fmla="*/ 30 w 76"/>
                <a:gd name="T69" fmla="*/ 42 h 76"/>
                <a:gd name="T70" fmla="*/ 38 w 76"/>
                <a:gd name="T71" fmla="*/ 72 h 76"/>
                <a:gd name="T72" fmla="*/ 4 w 76"/>
                <a:gd name="T73" fmla="*/ 38 h 76"/>
                <a:gd name="T74" fmla="*/ 36 w 76"/>
                <a:gd name="T75" fmla="*/ 4 h 76"/>
                <a:gd name="T76" fmla="*/ 36 w 76"/>
                <a:gd name="T77" fmla="*/ 10 h 76"/>
                <a:gd name="T78" fmla="*/ 10 w 76"/>
                <a:gd name="T79" fmla="*/ 38 h 76"/>
                <a:gd name="T80" fmla="*/ 38 w 76"/>
                <a:gd name="T81" fmla="*/ 66 h 76"/>
                <a:gd name="T82" fmla="*/ 66 w 76"/>
                <a:gd name="T83" fmla="*/ 38 h 76"/>
                <a:gd name="T84" fmla="*/ 59 w 76"/>
                <a:gd name="T85" fmla="*/ 20 h 76"/>
                <a:gd name="T86" fmla="*/ 63 w 76"/>
                <a:gd name="T87" fmla="*/ 15 h 76"/>
                <a:gd name="T88" fmla="*/ 72 w 76"/>
                <a:gd name="T89" fmla="*/ 38 h 76"/>
                <a:gd name="T90" fmla="*/ 38 w 76"/>
                <a:gd name="T91" fmla="*/ 7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76">
                  <a:moveTo>
                    <a:pt x="65" y="11"/>
                  </a:moveTo>
                  <a:cubicBezTo>
                    <a:pt x="64" y="10"/>
                    <a:pt x="63" y="10"/>
                    <a:pt x="62" y="11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28"/>
                    <a:pt x="72" y="18"/>
                    <a:pt x="65" y="11"/>
                  </a:cubicBezTo>
                  <a:close/>
                  <a:moveTo>
                    <a:pt x="53" y="23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6" y="26"/>
                    <a:pt x="56" y="28"/>
                    <a:pt x="54" y="30"/>
                  </a:cubicBezTo>
                  <a:cubicBezTo>
                    <a:pt x="52" y="32"/>
                    <a:pt x="50" y="32"/>
                    <a:pt x="48" y="30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53" y="23"/>
                  </a:lnTo>
                  <a:close/>
                  <a:moveTo>
                    <a:pt x="60" y="42"/>
                  </a:moveTo>
                  <a:cubicBezTo>
                    <a:pt x="60" y="45"/>
                    <a:pt x="57" y="48"/>
                    <a:pt x="54" y="48"/>
                  </a:cubicBezTo>
                  <a:cubicBezTo>
                    <a:pt x="51" y="48"/>
                    <a:pt x="48" y="45"/>
                    <a:pt x="48" y="42"/>
                  </a:cubicBezTo>
                  <a:cubicBezTo>
                    <a:pt x="48" y="39"/>
                    <a:pt x="51" y="36"/>
                    <a:pt x="54" y="36"/>
                  </a:cubicBezTo>
                  <a:cubicBezTo>
                    <a:pt x="57" y="36"/>
                    <a:pt x="60" y="39"/>
                    <a:pt x="60" y="42"/>
                  </a:cubicBezTo>
                  <a:close/>
                  <a:moveTo>
                    <a:pt x="40" y="48"/>
                  </a:moveTo>
                  <a:cubicBezTo>
                    <a:pt x="43" y="48"/>
                    <a:pt x="46" y="51"/>
                    <a:pt x="46" y="54"/>
                  </a:cubicBezTo>
                  <a:cubicBezTo>
                    <a:pt x="46" y="57"/>
                    <a:pt x="43" y="60"/>
                    <a:pt x="40" y="60"/>
                  </a:cubicBezTo>
                  <a:cubicBezTo>
                    <a:pt x="37" y="60"/>
                    <a:pt x="34" y="57"/>
                    <a:pt x="34" y="54"/>
                  </a:cubicBezTo>
                  <a:cubicBezTo>
                    <a:pt x="34" y="51"/>
                    <a:pt x="37" y="48"/>
                    <a:pt x="40" y="48"/>
                  </a:cubicBezTo>
                  <a:close/>
                  <a:moveTo>
                    <a:pt x="28" y="30"/>
                  </a:moveTo>
                  <a:cubicBezTo>
                    <a:pt x="25" y="30"/>
                    <a:pt x="22" y="27"/>
                    <a:pt x="22" y="24"/>
                  </a:cubicBezTo>
                  <a:cubicBezTo>
                    <a:pt x="22" y="21"/>
                    <a:pt x="25" y="18"/>
                    <a:pt x="28" y="18"/>
                  </a:cubicBezTo>
                  <a:cubicBezTo>
                    <a:pt x="31" y="18"/>
                    <a:pt x="34" y="21"/>
                    <a:pt x="34" y="24"/>
                  </a:cubicBezTo>
                  <a:cubicBezTo>
                    <a:pt x="34" y="27"/>
                    <a:pt x="31" y="30"/>
                    <a:pt x="28" y="30"/>
                  </a:cubicBezTo>
                  <a:close/>
                  <a:moveTo>
                    <a:pt x="30" y="42"/>
                  </a:moveTo>
                  <a:cubicBezTo>
                    <a:pt x="30" y="45"/>
                    <a:pt x="27" y="48"/>
                    <a:pt x="24" y="48"/>
                  </a:cubicBezTo>
                  <a:cubicBezTo>
                    <a:pt x="21" y="48"/>
                    <a:pt x="18" y="45"/>
                    <a:pt x="18" y="42"/>
                  </a:cubicBezTo>
                  <a:cubicBezTo>
                    <a:pt x="18" y="39"/>
                    <a:pt x="21" y="36"/>
                    <a:pt x="24" y="36"/>
                  </a:cubicBezTo>
                  <a:cubicBezTo>
                    <a:pt x="27" y="36"/>
                    <a:pt x="30" y="39"/>
                    <a:pt x="30" y="42"/>
                  </a:cubicBezTo>
                  <a:close/>
                  <a:moveTo>
                    <a:pt x="38" y="72"/>
                  </a:moveTo>
                  <a:cubicBezTo>
                    <a:pt x="19" y="72"/>
                    <a:pt x="4" y="57"/>
                    <a:pt x="4" y="38"/>
                  </a:cubicBezTo>
                  <a:cubicBezTo>
                    <a:pt x="4" y="20"/>
                    <a:pt x="18" y="5"/>
                    <a:pt x="36" y="4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1" y="11"/>
                    <a:pt x="10" y="23"/>
                    <a:pt x="10" y="38"/>
                  </a:cubicBezTo>
                  <a:cubicBezTo>
                    <a:pt x="10" y="53"/>
                    <a:pt x="23" y="66"/>
                    <a:pt x="38" y="66"/>
                  </a:cubicBezTo>
                  <a:cubicBezTo>
                    <a:pt x="53" y="66"/>
                    <a:pt x="66" y="53"/>
                    <a:pt x="66" y="38"/>
                  </a:cubicBezTo>
                  <a:cubicBezTo>
                    <a:pt x="66" y="31"/>
                    <a:pt x="63" y="25"/>
                    <a:pt x="59" y="20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22"/>
                    <a:pt x="72" y="30"/>
                    <a:pt x="72" y="38"/>
                  </a:cubicBezTo>
                  <a:cubicBezTo>
                    <a:pt x="72" y="57"/>
                    <a:pt x="57" y="72"/>
                    <a:pt x="38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57">
              <a:extLst>
                <a:ext uri="{FF2B5EF4-FFF2-40B4-BE49-F238E27FC236}">
                  <a16:creationId xmlns:a16="http://schemas.microsoft.com/office/drawing/2014/main" xmlns="" id="{542BDDBE-4FBE-4697-866D-40DE8C30B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3688" y="1082675"/>
              <a:ext cx="109538" cy="150813"/>
            </a:xfrm>
            <a:custGeom>
              <a:avLst/>
              <a:gdLst>
                <a:gd name="T0" fmla="*/ 1 w 29"/>
                <a:gd name="T1" fmla="*/ 40 h 40"/>
                <a:gd name="T2" fmla="*/ 3 w 29"/>
                <a:gd name="T3" fmla="*/ 39 h 40"/>
                <a:gd name="T4" fmla="*/ 29 w 29"/>
                <a:gd name="T5" fmla="*/ 13 h 40"/>
                <a:gd name="T6" fmla="*/ 29 w 29"/>
                <a:gd name="T7" fmla="*/ 12 h 40"/>
                <a:gd name="T8" fmla="*/ 29 w 29"/>
                <a:gd name="T9" fmla="*/ 11 h 40"/>
                <a:gd name="T10" fmla="*/ 2 w 29"/>
                <a:gd name="T11" fmla="*/ 0 h 40"/>
                <a:gd name="T12" fmla="*/ 0 w 29"/>
                <a:gd name="T13" fmla="*/ 2 h 40"/>
                <a:gd name="T14" fmla="*/ 0 w 29"/>
                <a:gd name="T15" fmla="*/ 10 h 40"/>
                <a:gd name="T16" fmla="*/ 0 w 29"/>
                <a:gd name="T17" fmla="*/ 38 h 40"/>
                <a:gd name="T18" fmla="*/ 1 w 29"/>
                <a:gd name="T19" fmla="*/ 40 h 40"/>
                <a:gd name="T20" fmla="*/ 11 w 29"/>
                <a:gd name="T21" fmla="*/ 29 h 40"/>
                <a:gd name="T22" fmla="*/ 10 w 29"/>
                <a:gd name="T23" fmla="*/ 28 h 40"/>
                <a:gd name="T24" fmla="*/ 10 w 29"/>
                <a:gd name="T25" fmla="*/ 22 h 40"/>
                <a:gd name="T26" fmla="*/ 16 w 29"/>
                <a:gd name="T27" fmla="*/ 22 h 40"/>
                <a:gd name="T28" fmla="*/ 17 w 29"/>
                <a:gd name="T29" fmla="*/ 23 h 40"/>
                <a:gd name="T30" fmla="*/ 11 w 29"/>
                <a:gd name="T31" fmla="*/ 29 h 40"/>
                <a:gd name="T32" fmla="*/ 4 w 29"/>
                <a:gd name="T33" fmla="*/ 4 h 40"/>
                <a:gd name="T34" fmla="*/ 25 w 29"/>
                <a:gd name="T35" fmla="*/ 12 h 40"/>
                <a:gd name="T36" fmla="*/ 22 w 29"/>
                <a:gd name="T37" fmla="*/ 15 h 40"/>
                <a:gd name="T38" fmla="*/ 4 w 29"/>
                <a:gd name="T39" fmla="*/ 8 h 40"/>
                <a:gd name="T40" fmla="*/ 4 w 29"/>
                <a:gd name="T41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0">
                  <a:moveTo>
                    <a:pt x="1" y="40"/>
                  </a:moveTo>
                  <a:cubicBezTo>
                    <a:pt x="2" y="40"/>
                    <a:pt x="3" y="40"/>
                    <a:pt x="3" y="39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1" y="4"/>
                    <a:pt x="1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1" y="40"/>
                  </a:cubicBezTo>
                  <a:close/>
                  <a:moveTo>
                    <a:pt x="11" y="29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" y="26"/>
                    <a:pt x="8" y="24"/>
                    <a:pt x="10" y="22"/>
                  </a:cubicBezTo>
                  <a:cubicBezTo>
                    <a:pt x="11" y="20"/>
                    <a:pt x="14" y="20"/>
                    <a:pt x="16" y="22"/>
                  </a:cubicBezTo>
                  <a:cubicBezTo>
                    <a:pt x="17" y="23"/>
                    <a:pt x="17" y="23"/>
                    <a:pt x="17" y="23"/>
                  </a:cubicBezTo>
                  <a:lnTo>
                    <a:pt x="11" y="29"/>
                  </a:lnTo>
                  <a:close/>
                  <a:moveTo>
                    <a:pt x="4" y="4"/>
                  </a:moveTo>
                  <a:cubicBezTo>
                    <a:pt x="12" y="5"/>
                    <a:pt x="19" y="7"/>
                    <a:pt x="25" y="12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7" y="11"/>
                    <a:pt x="11" y="8"/>
                    <a:pt x="4" y="8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FAA89B4-8D5D-446A-893C-ABF56B695FBE}"/>
              </a:ext>
            </a:extLst>
          </p:cNvPr>
          <p:cNvGrpSpPr/>
          <p:nvPr/>
        </p:nvGrpSpPr>
        <p:grpSpPr>
          <a:xfrm>
            <a:off x="-735949" y="-1028003"/>
            <a:ext cx="2527322" cy="2516240"/>
            <a:chOff x="5554663" y="1082675"/>
            <a:chExt cx="3619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14" name="Freeform 53">
              <a:extLst>
                <a:ext uri="{FF2B5EF4-FFF2-40B4-BE49-F238E27FC236}">
                  <a16:creationId xmlns:a16="http://schemas.microsoft.com/office/drawing/2014/main" xmlns="" id="{2B5B17F0-8BEA-46A1-ABC9-93DA55410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330325"/>
              <a:ext cx="361950" cy="60325"/>
            </a:xfrm>
            <a:custGeom>
              <a:avLst/>
              <a:gdLst>
                <a:gd name="T0" fmla="*/ 86 w 96"/>
                <a:gd name="T1" fmla="*/ 0 h 16"/>
                <a:gd name="T2" fmla="*/ 10 w 96"/>
                <a:gd name="T3" fmla="*/ 0 h 16"/>
                <a:gd name="T4" fmla="*/ 0 w 96"/>
                <a:gd name="T5" fmla="*/ 8 h 16"/>
                <a:gd name="T6" fmla="*/ 10 w 96"/>
                <a:gd name="T7" fmla="*/ 16 h 16"/>
                <a:gd name="T8" fmla="*/ 86 w 96"/>
                <a:gd name="T9" fmla="*/ 16 h 16"/>
                <a:gd name="T10" fmla="*/ 96 w 96"/>
                <a:gd name="T11" fmla="*/ 8 h 16"/>
                <a:gd name="T12" fmla="*/ 86 w 96"/>
                <a:gd name="T13" fmla="*/ 0 h 16"/>
                <a:gd name="T14" fmla="*/ 85 w 96"/>
                <a:gd name="T15" fmla="*/ 6 h 16"/>
                <a:gd name="T16" fmla="*/ 73 w 96"/>
                <a:gd name="T17" fmla="*/ 14 h 16"/>
                <a:gd name="T18" fmla="*/ 72 w 96"/>
                <a:gd name="T19" fmla="*/ 14 h 16"/>
                <a:gd name="T20" fmla="*/ 71 w 96"/>
                <a:gd name="T21" fmla="*/ 14 h 16"/>
                <a:gd name="T22" fmla="*/ 47 w 96"/>
                <a:gd name="T23" fmla="*/ 6 h 16"/>
                <a:gd name="T24" fmla="*/ 46 w 96"/>
                <a:gd name="T25" fmla="*/ 4 h 16"/>
                <a:gd name="T26" fmla="*/ 48 w 96"/>
                <a:gd name="T27" fmla="*/ 2 h 16"/>
                <a:gd name="T28" fmla="*/ 84 w 96"/>
                <a:gd name="T29" fmla="*/ 2 h 16"/>
                <a:gd name="T30" fmla="*/ 86 w 96"/>
                <a:gd name="T31" fmla="*/ 3 h 16"/>
                <a:gd name="T32" fmla="*/ 85 w 96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">
                  <a:moveTo>
                    <a:pt x="8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6"/>
                    <a:pt x="10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92" y="16"/>
                    <a:pt x="96" y="13"/>
                    <a:pt x="96" y="8"/>
                  </a:cubicBezTo>
                  <a:cubicBezTo>
                    <a:pt x="96" y="3"/>
                    <a:pt x="92" y="0"/>
                    <a:pt x="86" y="0"/>
                  </a:cubicBezTo>
                  <a:close/>
                  <a:moveTo>
                    <a:pt x="85" y="6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2" y="14"/>
                    <a:pt x="72" y="14"/>
                  </a:cubicBezTo>
                  <a:cubicBezTo>
                    <a:pt x="72" y="14"/>
                    <a:pt x="72" y="14"/>
                    <a:pt x="71" y="14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6"/>
                    <a:pt x="46" y="5"/>
                    <a:pt x="46" y="4"/>
                  </a:cubicBezTo>
                  <a:cubicBezTo>
                    <a:pt x="46" y="3"/>
                    <a:pt x="47" y="2"/>
                    <a:pt x="48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5" y="2"/>
                    <a:pt x="86" y="3"/>
                    <a:pt x="86" y="3"/>
                  </a:cubicBezTo>
                  <a:cubicBezTo>
                    <a:pt x="86" y="4"/>
                    <a:pt x="86" y="5"/>
                    <a:pt x="8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54">
              <a:extLst>
                <a:ext uri="{FF2B5EF4-FFF2-40B4-BE49-F238E27FC236}">
                  <a16:creationId xmlns:a16="http://schemas.microsoft.com/office/drawing/2014/main" xmlns="" id="{EDA83F92-7927-4907-BD14-39173B813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6" y="1398588"/>
              <a:ext cx="301625" cy="44450"/>
            </a:xfrm>
            <a:custGeom>
              <a:avLst/>
              <a:gdLst>
                <a:gd name="T0" fmla="*/ 78 w 80"/>
                <a:gd name="T1" fmla="*/ 0 h 12"/>
                <a:gd name="T2" fmla="*/ 2 w 80"/>
                <a:gd name="T3" fmla="*/ 0 h 12"/>
                <a:gd name="T4" fmla="*/ 0 w 80"/>
                <a:gd name="T5" fmla="*/ 2 h 12"/>
                <a:gd name="T6" fmla="*/ 0 w 80"/>
                <a:gd name="T7" fmla="*/ 4 h 12"/>
                <a:gd name="T8" fmla="*/ 10 w 80"/>
                <a:gd name="T9" fmla="*/ 12 h 12"/>
                <a:gd name="T10" fmla="*/ 70 w 80"/>
                <a:gd name="T11" fmla="*/ 12 h 12"/>
                <a:gd name="T12" fmla="*/ 80 w 80"/>
                <a:gd name="T13" fmla="*/ 4 h 12"/>
                <a:gd name="T14" fmla="*/ 80 w 80"/>
                <a:gd name="T15" fmla="*/ 2 h 12"/>
                <a:gd name="T16" fmla="*/ 78 w 8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2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9"/>
                    <a:pt x="4" y="12"/>
                    <a:pt x="1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6" y="12"/>
                    <a:pt x="80" y="9"/>
                    <a:pt x="80" y="4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55">
              <a:extLst>
                <a:ext uri="{FF2B5EF4-FFF2-40B4-BE49-F238E27FC236}">
                  <a16:creationId xmlns:a16="http://schemas.microsoft.com/office/drawing/2014/main" xmlns="" id="{10992416-58B6-40AD-B9DB-85428A0600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1082675"/>
              <a:ext cx="361950" cy="241300"/>
            </a:xfrm>
            <a:custGeom>
              <a:avLst/>
              <a:gdLst>
                <a:gd name="T0" fmla="*/ 96 w 96"/>
                <a:gd name="T1" fmla="*/ 44 h 64"/>
                <a:gd name="T2" fmla="*/ 88 w 96"/>
                <a:gd name="T3" fmla="*/ 36 h 64"/>
                <a:gd name="T4" fmla="*/ 48 w 96"/>
                <a:gd name="T5" fmla="*/ 0 h 64"/>
                <a:gd name="T6" fmla="*/ 8 w 96"/>
                <a:gd name="T7" fmla="*/ 36 h 64"/>
                <a:gd name="T8" fmla="*/ 0 w 96"/>
                <a:gd name="T9" fmla="*/ 44 h 64"/>
                <a:gd name="T10" fmla="*/ 2 w 96"/>
                <a:gd name="T11" fmla="*/ 49 h 64"/>
                <a:gd name="T12" fmla="*/ 0 w 96"/>
                <a:gd name="T13" fmla="*/ 54 h 64"/>
                <a:gd name="T14" fmla="*/ 10 w 96"/>
                <a:gd name="T15" fmla="*/ 64 h 64"/>
                <a:gd name="T16" fmla="*/ 86 w 96"/>
                <a:gd name="T17" fmla="*/ 64 h 64"/>
                <a:gd name="T18" fmla="*/ 96 w 96"/>
                <a:gd name="T19" fmla="*/ 54 h 64"/>
                <a:gd name="T20" fmla="*/ 94 w 96"/>
                <a:gd name="T21" fmla="*/ 49 h 64"/>
                <a:gd name="T22" fmla="*/ 96 w 96"/>
                <a:gd name="T23" fmla="*/ 44 h 64"/>
                <a:gd name="T24" fmla="*/ 68 w 96"/>
                <a:gd name="T25" fmla="*/ 16 h 64"/>
                <a:gd name="T26" fmla="*/ 70 w 96"/>
                <a:gd name="T27" fmla="*/ 18 h 64"/>
                <a:gd name="T28" fmla="*/ 68 w 96"/>
                <a:gd name="T29" fmla="*/ 20 h 64"/>
                <a:gd name="T30" fmla="*/ 66 w 96"/>
                <a:gd name="T31" fmla="*/ 18 h 64"/>
                <a:gd name="T32" fmla="*/ 68 w 96"/>
                <a:gd name="T33" fmla="*/ 16 h 64"/>
                <a:gd name="T34" fmla="*/ 58 w 96"/>
                <a:gd name="T35" fmla="*/ 12 h 64"/>
                <a:gd name="T36" fmla="*/ 60 w 96"/>
                <a:gd name="T37" fmla="*/ 14 h 64"/>
                <a:gd name="T38" fmla="*/ 58 w 96"/>
                <a:gd name="T39" fmla="*/ 16 h 64"/>
                <a:gd name="T40" fmla="*/ 56 w 96"/>
                <a:gd name="T41" fmla="*/ 14 h 64"/>
                <a:gd name="T42" fmla="*/ 58 w 96"/>
                <a:gd name="T43" fmla="*/ 12 h 64"/>
                <a:gd name="T44" fmla="*/ 48 w 96"/>
                <a:gd name="T45" fmla="*/ 16 h 64"/>
                <a:gd name="T46" fmla="*/ 50 w 96"/>
                <a:gd name="T47" fmla="*/ 18 h 64"/>
                <a:gd name="T48" fmla="*/ 48 w 96"/>
                <a:gd name="T49" fmla="*/ 20 h 64"/>
                <a:gd name="T50" fmla="*/ 46 w 96"/>
                <a:gd name="T51" fmla="*/ 18 h 64"/>
                <a:gd name="T52" fmla="*/ 48 w 96"/>
                <a:gd name="T53" fmla="*/ 16 h 64"/>
                <a:gd name="T54" fmla="*/ 38 w 96"/>
                <a:gd name="T55" fmla="*/ 12 h 64"/>
                <a:gd name="T56" fmla="*/ 40 w 96"/>
                <a:gd name="T57" fmla="*/ 14 h 64"/>
                <a:gd name="T58" fmla="*/ 38 w 96"/>
                <a:gd name="T59" fmla="*/ 16 h 64"/>
                <a:gd name="T60" fmla="*/ 36 w 96"/>
                <a:gd name="T61" fmla="*/ 14 h 64"/>
                <a:gd name="T62" fmla="*/ 38 w 96"/>
                <a:gd name="T63" fmla="*/ 12 h 64"/>
                <a:gd name="T64" fmla="*/ 28 w 96"/>
                <a:gd name="T65" fmla="*/ 16 h 64"/>
                <a:gd name="T66" fmla="*/ 30 w 96"/>
                <a:gd name="T67" fmla="*/ 18 h 64"/>
                <a:gd name="T68" fmla="*/ 28 w 96"/>
                <a:gd name="T69" fmla="*/ 20 h 64"/>
                <a:gd name="T70" fmla="*/ 26 w 96"/>
                <a:gd name="T71" fmla="*/ 18 h 64"/>
                <a:gd name="T72" fmla="*/ 28 w 96"/>
                <a:gd name="T73" fmla="*/ 16 h 64"/>
                <a:gd name="T74" fmla="*/ 86 w 96"/>
                <a:gd name="T75" fmla="*/ 48 h 64"/>
                <a:gd name="T76" fmla="*/ 81 w 96"/>
                <a:gd name="T77" fmla="*/ 47 h 64"/>
                <a:gd name="T78" fmla="*/ 80 w 96"/>
                <a:gd name="T79" fmla="*/ 46 h 64"/>
                <a:gd name="T80" fmla="*/ 78 w 96"/>
                <a:gd name="T81" fmla="*/ 47 h 64"/>
                <a:gd name="T82" fmla="*/ 70 w 96"/>
                <a:gd name="T83" fmla="*/ 52 h 64"/>
                <a:gd name="T84" fmla="*/ 62 w 96"/>
                <a:gd name="T85" fmla="*/ 47 h 64"/>
                <a:gd name="T86" fmla="*/ 60 w 96"/>
                <a:gd name="T87" fmla="*/ 46 h 64"/>
                <a:gd name="T88" fmla="*/ 58 w 96"/>
                <a:gd name="T89" fmla="*/ 47 h 64"/>
                <a:gd name="T90" fmla="*/ 48 w 96"/>
                <a:gd name="T91" fmla="*/ 52 h 64"/>
                <a:gd name="T92" fmla="*/ 38 w 96"/>
                <a:gd name="T93" fmla="*/ 47 h 64"/>
                <a:gd name="T94" fmla="*/ 36 w 96"/>
                <a:gd name="T95" fmla="*/ 46 h 64"/>
                <a:gd name="T96" fmla="*/ 34 w 96"/>
                <a:gd name="T97" fmla="*/ 47 h 64"/>
                <a:gd name="T98" fmla="*/ 26 w 96"/>
                <a:gd name="T99" fmla="*/ 52 h 64"/>
                <a:gd name="T100" fmla="*/ 18 w 96"/>
                <a:gd name="T101" fmla="*/ 47 h 64"/>
                <a:gd name="T102" fmla="*/ 16 w 96"/>
                <a:gd name="T103" fmla="*/ 46 h 64"/>
                <a:gd name="T104" fmla="*/ 15 w 96"/>
                <a:gd name="T105" fmla="*/ 47 h 64"/>
                <a:gd name="T106" fmla="*/ 10 w 96"/>
                <a:gd name="T107" fmla="*/ 48 h 64"/>
                <a:gd name="T108" fmla="*/ 4 w 96"/>
                <a:gd name="T109" fmla="*/ 44 h 64"/>
                <a:gd name="T110" fmla="*/ 10 w 96"/>
                <a:gd name="T111" fmla="*/ 40 h 64"/>
                <a:gd name="T112" fmla="*/ 86 w 96"/>
                <a:gd name="T113" fmla="*/ 40 h 64"/>
                <a:gd name="T114" fmla="*/ 92 w 96"/>
                <a:gd name="T115" fmla="*/ 44 h 64"/>
                <a:gd name="T116" fmla="*/ 86 w 96"/>
                <a:gd name="T117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64">
                  <a:moveTo>
                    <a:pt x="96" y="44"/>
                  </a:moveTo>
                  <a:cubicBezTo>
                    <a:pt x="96" y="39"/>
                    <a:pt x="91" y="37"/>
                    <a:pt x="88" y="36"/>
                  </a:cubicBezTo>
                  <a:cubicBezTo>
                    <a:pt x="87" y="16"/>
                    <a:pt x="70" y="0"/>
                    <a:pt x="48" y="0"/>
                  </a:cubicBezTo>
                  <a:cubicBezTo>
                    <a:pt x="26" y="0"/>
                    <a:pt x="9" y="16"/>
                    <a:pt x="8" y="36"/>
                  </a:cubicBezTo>
                  <a:cubicBezTo>
                    <a:pt x="5" y="37"/>
                    <a:pt x="0" y="39"/>
                    <a:pt x="0" y="44"/>
                  </a:cubicBezTo>
                  <a:cubicBezTo>
                    <a:pt x="0" y="46"/>
                    <a:pt x="1" y="48"/>
                    <a:pt x="2" y="49"/>
                  </a:cubicBezTo>
                  <a:cubicBezTo>
                    <a:pt x="1" y="50"/>
                    <a:pt x="0" y="52"/>
                    <a:pt x="0" y="54"/>
                  </a:cubicBezTo>
                  <a:cubicBezTo>
                    <a:pt x="0" y="60"/>
                    <a:pt x="4" y="64"/>
                    <a:pt x="10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2" y="64"/>
                    <a:pt x="96" y="60"/>
                    <a:pt x="96" y="54"/>
                  </a:cubicBezTo>
                  <a:cubicBezTo>
                    <a:pt x="96" y="52"/>
                    <a:pt x="95" y="50"/>
                    <a:pt x="94" y="49"/>
                  </a:cubicBezTo>
                  <a:cubicBezTo>
                    <a:pt x="95" y="48"/>
                    <a:pt x="96" y="46"/>
                    <a:pt x="96" y="44"/>
                  </a:cubicBezTo>
                  <a:close/>
                  <a:moveTo>
                    <a:pt x="68" y="16"/>
                  </a:moveTo>
                  <a:cubicBezTo>
                    <a:pt x="69" y="16"/>
                    <a:pt x="70" y="17"/>
                    <a:pt x="70" y="18"/>
                  </a:cubicBezTo>
                  <a:cubicBezTo>
                    <a:pt x="70" y="19"/>
                    <a:pt x="69" y="20"/>
                    <a:pt x="68" y="20"/>
                  </a:cubicBezTo>
                  <a:cubicBezTo>
                    <a:pt x="67" y="20"/>
                    <a:pt x="66" y="19"/>
                    <a:pt x="66" y="18"/>
                  </a:cubicBezTo>
                  <a:cubicBezTo>
                    <a:pt x="66" y="17"/>
                    <a:pt x="67" y="16"/>
                    <a:pt x="68" y="16"/>
                  </a:cubicBezTo>
                  <a:close/>
                  <a:moveTo>
                    <a:pt x="58" y="12"/>
                  </a:moveTo>
                  <a:cubicBezTo>
                    <a:pt x="59" y="12"/>
                    <a:pt x="60" y="13"/>
                    <a:pt x="60" y="14"/>
                  </a:cubicBezTo>
                  <a:cubicBezTo>
                    <a:pt x="60" y="15"/>
                    <a:pt x="59" y="16"/>
                    <a:pt x="58" y="16"/>
                  </a:cubicBezTo>
                  <a:cubicBezTo>
                    <a:pt x="57" y="16"/>
                    <a:pt x="56" y="15"/>
                    <a:pt x="56" y="14"/>
                  </a:cubicBezTo>
                  <a:cubicBezTo>
                    <a:pt x="56" y="13"/>
                    <a:pt x="57" y="12"/>
                    <a:pt x="58" y="12"/>
                  </a:cubicBezTo>
                  <a:close/>
                  <a:moveTo>
                    <a:pt x="48" y="16"/>
                  </a:moveTo>
                  <a:cubicBezTo>
                    <a:pt x="49" y="16"/>
                    <a:pt x="50" y="17"/>
                    <a:pt x="50" y="18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7"/>
                    <a:pt x="47" y="16"/>
                    <a:pt x="48" y="16"/>
                  </a:cubicBezTo>
                  <a:close/>
                  <a:moveTo>
                    <a:pt x="38" y="12"/>
                  </a:moveTo>
                  <a:cubicBezTo>
                    <a:pt x="39" y="12"/>
                    <a:pt x="40" y="13"/>
                    <a:pt x="40" y="14"/>
                  </a:cubicBezTo>
                  <a:cubicBezTo>
                    <a:pt x="40" y="15"/>
                    <a:pt x="39" y="16"/>
                    <a:pt x="38" y="16"/>
                  </a:cubicBezTo>
                  <a:cubicBezTo>
                    <a:pt x="37" y="16"/>
                    <a:pt x="36" y="15"/>
                    <a:pt x="36" y="14"/>
                  </a:cubicBezTo>
                  <a:cubicBezTo>
                    <a:pt x="36" y="13"/>
                    <a:pt x="37" y="12"/>
                    <a:pt x="38" y="12"/>
                  </a:cubicBezTo>
                  <a:close/>
                  <a:moveTo>
                    <a:pt x="28" y="16"/>
                  </a:moveTo>
                  <a:cubicBezTo>
                    <a:pt x="29" y="16"/>
                    <a:pt x="30" y="17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ubicBezTo>
                    <a:pt x="27" y="20"/>
                    <a:pt x="26" y="19"/>
                    <a:pt x="26" y="18"/>
                  </a:cubicBezTo>
                  <a:cubicBezTo>
                    <a:pt x="26" y="17"/>
                    <a:pt x="27" y="16"/>
                    <a:pt x="28" y="16"/>
                  </a:cubicBezTo>
                  <a:close/>
                  <a:moveTo>
                    <a:pt x="86" y="48"/>
                  </a:moveTo>
                  <a:cubicBezTo>
                    <a:pt x="84" y="48"/>
                    <a:pt x="82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79" y="46"/>
                    <a:pt x="79" y="47"/>
                    <a:pt x="78" y="47"/>
                  </a:cubicBezTo>
                  <a:cubicBezTo>
                    <a:pt x="77" y="49"/>
                    <a:pt x="75" y="52"/>
                    <a:pt x="70" y="52"/>
                  </a:cubicBezTo>
                  <a:cubicBezTo>
                    <a:pt x="66" y="52"/>
                    <a:pt x="63" y="51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58" y="46"/>
                    <a:pt x="58" y="47"/>
                  </a:cubicBezTo>
                  <a:cubicBezTo>
                    <a:pt x="57" y="51"/>
                    <a:pt x="52" y="52"/>
                    <a:pt x="48" y="52"/>
                  </a:cubicBezTo>
                  <a:cubicBezTo>
                    <a:pt x="44" y="52"/>
                    <a:pt x="39" y="51"/>
                    <a:pt x="38" y="47"/>
                  </a:cubicBezTo>
                  <a:cubicBezTo>
                    <a:pt x="38" y="46"/>
                    <a:pt x="37" y="46"/>
                    <a:pt x="36" y="46"/>
                  </a:cubicBezTo>
                  <a:cubicBezTo>
                    <a:pt x="35" y="46"/>
                    <a:pt x="34" y="46"/>
                    <a:pt x="34" y="47"/>
                  </a:cubicBezTo>
                  <a:cubicBezTo>
                    <a:pt x="33" y="51"/>
                    <a:pt x="30" y="52"/>
                    <a:pt x="26" y="52"/>
                  </a:cubicBezTo>
                  <a:cubicBezTo>
                    <a:pt x="21" y="52"/>
                    <a:pt x="19" y="49"/>
                    <a:pt x="18" y="47"/>
                  </a:cubicBezTo>
                  <a:cubicBezTo>
                    <a:pt x="17" y="47"/>
                    <a:pt x="17" y="46"/>
                    <a:pt x="16" y="46"/>
                  </a:cubicBezTo>
                  <a:cubicBezTo>
                    <a:pt x="16" y="46"/>
                    <a:pt x="15" y="46"/>
                    <a:pt x="15" y="47"/>
                  </a:cubicBezTo>
                  <a:cubicBezTo>
                    <a:pt x="14" y="47"/>
                    <a:pt x="12" y="48"/>
                    <a:pt x="10" y="48"/>
                  </a:cubicBezTo>
                  <a:cubicBezTo>
                    <a:pt x="4" y="48"/>
                    <a:pt x="4" y="45"/>
                    <a:pt x="4" y="44"/>
                  </a:cubicBezTo>
                  <a:cubicBezTo>
                    <a:pt x="4" y="42"/>
                    <a:pt x="8" y="40"/>
                    <a:pt x="10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8" y="40"/>
                    <a:pt x="92" y="42"/>
                    <a:pt x="92" y="44"/>
                  </a:cubicBezTo>
                  <a:cubicBezTo>
                    <a:pt x="92" y="45"/>
                    <a:pt x="92" y="48"/>
                    <a:pt x="8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574964" y="365125"/>
            <a:ext cx="11042072" cy="819439"/>
          </a:xfrm>
        </p:spPr>
        <p:txBody>
          <a:bodyPr>
            <a:normAutofit/>
          </a:bodyPr>
          <a:lstStyle>
            <a:lvl1pPr algn="ctr">
              <a:defRPr sz="4000" b="1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574964" y="1825625"/>
            <a:ext cx="11042072" cy="435133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9F71AE08-5345-465B-A77B-49B6682430F0}"/>
              </a:ext>
            </a:extLst>
          </p:cNvPr>
          <p:cNvGrpSpPr/>
          <p:nvPr userDrawn="1"/>
        </p:nvGrpSpPr>
        <p:grpSpPr>
          <a:xfrm rot="977373">
            <a:off x="10446801" y="5132280"/>
            <a:ext cx="2123695" cy="2678219"/>
            <a:chOff x="7748588" y="1082675"/>
            <a:chExt cx="285750" cy="360363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xmlns="" id="{48F5D26A-C808-4CD8-9842-C8CF14CCC0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8588" y="1157288"/>
              <a:ext cx="285750" cy="285750"/>
            </a:xfrm>
            <a:custGeom>
              <a:avLst/>
              <a:gdLst>
                <a:gd name="T0" fmla="*/ 65 w 76"/>
                <a:gd name="T1" fmla="*/ 11 h 76"/>
                <a:gd name="T2" fmla="*/ 62 w 76"/>
                <a:gd name="T3" fmla="*/ 11 h 76"/>
                <a:gd name="T4" fmla="*/ 40 w 76"/>
                <a:gd name="T5" fmla="*/ 33 h 76"/>
                <a:gd name="T6" fmla="*/ 40 w 76"/>
                <a:gd name="T7" fmla="*/ 2 h 76"/>
                <a:gd name="T8" fmla="*/ 38 w 76"/>
                <a:gd name="T9" fmla="*/ 0 h 76"/>
                <a:gd name="T10" fmla="*/ 0 w 76"/>
                <a:gd name="T11" fmla="*/ 38 h 76"/>
                <a:gd name="T12" fmla="*/ 38 w 76"/>
                <a:gd name="T13" fmla="*/ 76 h 76"/>
                <a:gd name="T14" fmla="*/ 76 w 76"/>
                <a:gd name="T15" fmla="*/ 38 h 76"/>
                <a:gd name="T16" fmla="*/ 65 w 76"/>
                <a:gd name="T17" fmla="*/ 11 h 76"/>
                <a:gd name="T18" fmla="*/ 53 w 76"/>
                <a:gd name="T19" fmla="*/ 23 h 76"/>
                <a:gd name="T20" fmla="*/ 54 w 76"/>
                <a:gd name="T21" fmla="*/ 24 h 76"/>
                <a:gd name="T22" fmla="*/ 54 w 76"/>
                <a:gd name="T23" fmla="*/ 30 h 76"/>
                <a:gd name="T24" fmla="*/ 48 w 76"/>
                <a:gd name="T25" fmla="*/ 30 h 76"/>
                <a:gd name="T26" fmla="*/ 47 w 76"/>
                <a:gd name="T27" fmla="*/ 29 h 76"/>
                <a:gd name="T28" fmla="*/ 53 w 76"/>
                <a:gd name="T29" fmla="*/ 23 h 76"/>
                <a:gd name="T30" fmla="*/ 60 w 76"/>
                <a:gd name="T31" fmla="*/ 42 h 76"/>
                <a:gd name="T32" fmla="*/ 54 w 76"/>
                <a:gd name="T33" fmla="*/ 48 h 76"/>
                <a:gd name="T34" fmla="*/ 48 w 76"/>
                <a:gd name="T35" fmla="*/ 42 h 76"/>
                <a:gd name="T36" fmla="*/ 54 w 76"/>
                <a:gd name="T37" fmla="*/ 36 h 76"/>
                <a:gd name="T38" fmla="*/ 60 w 76"/>
                <a:gd name="T39" fmla="*/ 42 h 76"/>
                <a:gd name="T40" fmla="*/ 40 w 76"/>
                <a:gd name="T41" fmla="*/ 48 h 76"/>
                <a:gd name="T42" fmla="*/ 46 w 76"/>
                <a:gd name="T43" fmla="*/ 54 h 76"/>
                <a:gd name="T44" fmla="*/ 40 w 76"/>
                <a:gd name="T45" fmla="*/ 60 h 76"/>
                <a:gd name="T46" fmla="*/ 34 w 76"/>
                <a:gd name="T47" fmla="*/ 54 h 76"/>
                <a:gd name="T48" fmla="*/ 40 w 76"/>
                <a:gd name="T49" fmla="*/ 48 h 76"/>
                <a:gd name="T50" fmla="*/ 28 w 76"/>
                <a:gd name="T51" fmla="*/ 30 h 76"/>
                <a:gd name="T52" fmla="*/ 22 w 76"/>
                <a:gd name="T53" fmla="*/ 24 h 76"/>
                <a:gd name="T54" fmla="*/ 28 w 76"/>
                <a:gd name="T55" fmla="*/ 18 h 76"/>
                <a:gd name="T56" fmla="*/ 34 w 76"/>
                <a:gd name="T57" fmla="*/ 24 h 76"/>
                <a:gd name="T58" fmla="*/ 28 w 76"/>
                <a:gd name="T59" fmla="*/ 30 h 76"/>
                <a:gd name="T60" fmla="*/ 30 w 76"/>
                <a:gd name="T61" fmla="*/ 42 h 76"/>
                <a:gd name="T62" fmla="*/ 24 w 76"/>
                <a:gd name="T63" fmla="*/ 48 h 76"/>
                <a:gd name="T64" fmla="*/ 18 w 76"/>
                <a:gd name="T65" fmla="*/ 42 h 76"/>
                <a:gd name="T66" fmla="*/ 24 w 76"/>
                <a:gd name="T67" fmla="*/ 36 h 76"/>
                <a:gd name="T68" fmla="*/ 30 w 76"/>
                <a:gd name="T69" fmla="*/ 42 h 76"/>
                <a:gd name="T70" fmla="*/ 38 w 76"/>
                <a:gd name="T71" fmla="*/ 72 h 76"/>
                <a:gd name="T72" fmla="*/ 4 w 76"/>
                <a:gd name="T73" fmla="*/ 38 h 76"/>
                <a:gd name="T74" fmla="*/ 36 w 76"/>
                <a:gd name="T75" fmla="*/ 4 h 76"/>
                <a:gd name="T76" fmla="*/ 36 w 76"/>
                <a:gd name="T77" fmla="*/ 10 h 76"/>
                <a:gd name="T78" fmla="*/ 10 w 76"/>
                <a:gd name="T79" fmla="*/ 38 h 76"/>
                <a:gd name="T80" fmla="*/ 38 w 76"/>
                <a:gd name="T81" fmla="*/ 66 h 76"/>
                <a:gd name="T82" fmla="*/ 66 w 76"/>
                <a:gd name="T83" fmla="*/ 38 h 76"/>
                <a:gd name="T84" fmla="*/ 59 w 76"/>
                <a:gd name="T85" fmla="*/ 20 h 76"/>
                <a:gd name="T86" fmla="*/ 63 w 76"/>
                <a:gd name="T87" fmla="*/ 15 h 76"/>
                <a:gd name="T88" fmla="*/ 72 w 76"/>
                <a:gd name="T89" fmla="*/ 38 h 76"/>
                <a:gd name="T90" fmla="*/ 38 w 76"/>
                <a:gd name="T91" fmla="*/ 7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76">
                  <a:moveTo>
                    <a:pt x="65" y="11"/>
                  </a:moveTo>
                  <a:cubicBezTo>
                    <a:pt x="64" y="10"/>
                    <a:pt x="63" y="10"/>
                    <a:pt x="62" y="11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28"/>
                    <a:pt x="72" y="18"/>
                    <a:pt x="65" y="11"/>
                  </a:cubicBezTo>
                  <a:close/>
                  <a:moveTo>
                    <a:pt x="53" y="23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6" y="26"/>
                    <a:pt x="56" y="28"/>
                    <a:pt x="54" y="30"/>
                  </a:cubicBezTo>
                  <a:cubicBezTo>
                    <a:pt x="52" y="32"/>
                    <a:pt x="50" y="32"/>
                    <a:pt x="48" y="30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53" y="23"/>
                  </a:lnTo>
                  <a:close/>
                  <a:moveTo>
                    <a:pt x="60" y="42"/>
                  </a:moveTo>
                  <a:cubicBezTo>
                    <a:pt x="60" y="45"/>
                    <a:pt x="57" y="48"/>
                    <a:pt x="54" y="48"/>
                  </a:cubicBezTo>
                  <a:cubicBezTo>
                    <a:pt x="51" y="48"/>
                    <a:pt x="48" y="45"/>
                    <a:pt x="48" y="42"/>
                  </a:cubicBezTo>
                  <a:cubicBezTo>
                    <a:pt x="48" y="39"/>
                    <a:pt x="51" y="36"/>
                    <a:pt x="54" y="36"/>
                  </a:cubicBezTo>
                  <a:cubicBezTo>
                    <a:pt x="57" y="36"/>
                    <a:pt x="60" y="39"/>
                    <a:pt x="60" y="42"/>
                  </a:cubicBezTo>
                  <a:close/>
                  <a:moveTo>
                    <a:pt x="40" y="48"/>
                  </a:moveTo>
                  <a:cubicBezTo>
                    <a:pt x="43" y="48"/>
                    <a:pt x="46" y="51"/>
                    <a:pt x="46" y="54"/>
                  </a:cubicBezTo>
                  <a:cubicBezTo>
                    <a:pt x="46" y="57"/>
                    <a:pt x="43" y="60"/>
                    <a:pt x="40" y="60"/>
                  </a:cubicBezTo>
                  <a:cubicBezTo>
                    <a:pt x="37" y="60"/>
                    <a:pt x="34" y="57"/>
                    <a:pt x="34" y="54"/>
                  </a:cubicBezTo>
                  <a:cubicBezTo>
                    <a:pt x="34" y="51"/>
                    <a:pt x="37" y="48"/>
                    <a:pt x="40" y="48"/>
                  </a:cubicBezTo>
                  <a:close/>
                  <a:moveTo>
                    <a:pt x="28" y="30"/>
                  </a:moveTo>
                  <a:cubicBezTo>
                    <a:pt x="25" y="30"/>
                    <a:pt x="22" y="27"/>
                    <a:pt x="22" y="24"/>
                  </a:cubicBezTo>
                  <a:cubicBezTo>
                    <a:pt x="22" y="21"/>
                    <a:pt x="25" y="18"/>
                    <a:pt x="28" y="18"/>
                  </a:cubicBezTo>
                  <a:cubicBezTo>
                    <a:pt x="31" y="18"/>
                    <a:pt x="34" y="21"/>
                    <a:pt x="34" y="24"/>
                  </a:cubicBezTo>
                  <a:cubicBezTo>
                    <a:pt x="34" y="27"/>
                    <a:pt x="31" y="30"/>
                    <a:pt x="28" y="30"/>
                  </a:cubicBezTo>
                  <a:close/>
                  <a:moveTo>
                    <a:pt x="30" y="42"/>
                  </a:moveTo>
                  <a:cubicBezTo>
                    <a:pt x="30" y="45"/>
                    <a:pt x="27" y="48"/>
                    <a:pt x="24" y="48"/>
                  </a:cubicBezTo>
                  <a:cubicBezTo>
                    <a:pt x="21" y="48"/>
                    <a:pt x="18" y="45"/>
                    <a:pt x="18" y="42"/>
                  </a:cubicBezTo>
                  <a:cubicBezTo>
                    <a:pt x="18" y="39"/>
                    <a:pt x="21" y="36"/>
                    <a:pt x="24" y="36"/>
                  </a:cubicBezTo>
                  <a:cubicBezTo>
                    <a:pt x="27" y="36"/>
                    <a:pt x="30" y="39"/>
                    <a:pt x="30" y="42"/>
                  </a:cubicBezTo>
                  <a:close/>
                  <a:moveTo>
                    <a:pt x="38" y="72"/>
                  </a:moveTo>
                  <a:cubicBezTo>
                    <a:pt x="19" y="72"/>
                    <a:pt x="4" y="57"/>
                    <a:pt x="4" y="38"/>
                  </a:cubicBezTo>
                  <a:cubicBezTo>
                    <a:pt x="4" y="20"/>
                    <a:pt x="18" y="5"/>
                    <a:pt x="36" y="4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1" y="11"/>
                    <a:pt x="10" y="23"/>
                    <a:pt x="10" y="38"/>
                  </a:cubicBezTo>
                  <a:cubicBezTo>
                    <a:pt x="10" y="53"/>
                    <a:pt x="23" y="66"/>
                    <a:pt x="38" y="66"/>
                  </a:cubicBezTo>
                  <a:cubicBezTo>
                    <a:pt x="53" y="66"/>
                    <a:pt x="66" y="53"/>
                    <a:pt x="66" y="38"/>
                  </a:cubicBezTo>
                  <a:cubicBezTo>
                    <a:pt x="66" y="31"/>
                    <a:pt x="63" y="25"/>
                    <a:pt x="59" y="20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22"/>
                    <a:pt x="72" y="30"/>
                    <a:pt x="72" y="38"/>
                  </a:cubicBezTo>
                  <a:cubicBezTo>
                    <a:pt x="72" y="57"/>
                    <a:pt x="57" y="72"/>
                    <a:pt x="38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xmlns="" id="{6C80EB94-C190-425C-B988-186E2FB6F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3688" y="1082675"/>
              <a:ext cx="109538" cy="150813"/>
            </a:xfrm>
            <a:custGeom>
              <a:avLst/>
              <a:gdLst>
                <a:gd name="T0" fmla="*/ 1 w 29"/>
                <a:gd name="T1" fmla="*/ 40 h 40"/>
                <a:gd name="T2" fmla="*/ 3 w 29"/>
                <a:gd name="T3" fmla="*/ 39 h 40"/>
                <a:gd name="T4" fmla="*/ 29 w 29"/>
                <a:gd name="T5" fmla="*/ 13 h 40"/>
                <a:gd name="T6" fmla="*/ 29 w 29"/>
                <a:gd name="T7" fmla="*/ 12 h 40"/>
                <a:gd name="T8" fmla="*/ 29 w 29"/>
                <a:gd name="T9" fmla="*/ 11 h 40"/>
                <a:gd name="T10" fmla="*/ 2 w 29"/>
                <a:gd name="T11" fmla="*/ 0 h 40"/>
                <a:gd name="T12" fmla="*/ 0 w 29"/>
                <a:gd name="T13" fmla="*/ 2 h 40"/>
                <a:gd name="T14" fmla="*/ 0 w 29"/>
                <a:gd name="T15" fmla="*/ 10 h 40"/>
                <a:gd name="T16" fmla="*/ 0 w 29"/>
                <a:gd name="T17" fmla="*/ 38 h 40"/>
                <a:gd name="T18" fmla="*/ 1 w 29"/>
                <a:gd name="T19" fmla="*/ 40 h 40"/>
                <a:gd name="T20" fmla="*/ 11 w 29"/>
                <a:gd name="T21" fmla="*/ 29 h 40"/>
                <a:gd name="T22" fmla="*/ 10 w 29"/>
                <a:gd name="T23" fmla="*/ 28 h 40"/>
                <a:gd name="T24" fmla="*/ 10 w 29"/>
                <a:gd name="T25" fmla="*/ 22 h 40"/>
                <a:gd name="T26" fmla="*/ 16 w 29"/>
                <a:gd name="T27" fmla="*/ 22 h 40"/>
                <a:gd name="T28" fmla="*/ 17 w 29"/>
                <a:gd name="T29" fmla="*/ 23 h 40"/>
                <a:gd name="T30" fmla="*/ 11 w 29"/>
                <a:gd name="T31" fmla="*/ 29 h 40"/>
                <a:gd name="T32" fmla="*/ 4 w 29"/>
                <a:gd name="T33" fmla="*/ 4 h 40"/>
                <a:gd name="T34" fmla="*/ 25 w 29"/>
                <a:gd name="T35" fmla="*/ 12 h 40"/>
                <a:gd name="T36" fmla="*/ 22 w 29"/>
                <a:gd name="T37" fmla="*/ 15 h 40"/>
                <a:gd name="T38" fmla="*/ 4 w 29"/>
                <a:gd name="T39" fmla="*/ 8 h 40"/>
                <a:gd name="T40" fmla="*/ 4 w 29"/>
                <a:gd name="T41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0">
                  <a:moveTo>
                    <a:pt x="1" y="40"/>
                  </a:moveTo>
                  <a:cubicBezTo>
                    <a:pt x="2" y="40"/>
                    <a:pt x="3" y="40"/>
                    <a:pt x="3" y="39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1" y="4"/>
                    <a:pt x="1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0"/>
                    <a:pt x="1" y="40"/>
                  </a:cubicBezTo>
                  <a:close/>
                  <a:moveTo>
                    <a:pt x="11" y="29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" y="26"/>
                    <a:pt x="8" y="24"/>
                    <a:pt x="10" y="22"/>
                  </a:cubicBezTo>
                  <a:cubicBezTo>
                    <a:pt x="11" y="20"/>
                    <a:pt x="14" y="20"/>
                    <a:pt x="16" y="22"/>
                  </a:cubicBezTo>
                  <a:cubicBezTo>
                    <a:pt x="17" y="23"/>
                    <a:pt x="17" y="23"/>
                    <a:pt x="17" y="23"/>
                  </a:cubicBezTo>
                  <a:lnTo>
                    <a:pt x="11" y="29"/>
                  </a:lnTo>
                  <a:close/>
                  <a:moveTo>
                    <a:pt x="4" y="4"/>
                  </a:moveTo>
                  <a:cubicBezTo>
                    <a:pt x="12" y="5"/>
                    <a:pt x="19" y="7"/>
                    <a:pt x="25" y="12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7" y="11"/>
                    <a:pt x="11" y="8"/>
                    <a:pt x="4" y="8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A98BA9C7-37B3-4DD0-9B79-1FA0B3E8FB0E}"/>
              </a:ext>
            </a:extLst>
          </p:cNvPr>
          <p:cNvGrpSpPr/>
          <p:nvPr userDrawn="1"/>
        </p:nvGrpSpPr>
        <p:grpSpPr>
          <a:xfrm>
            <a:off x="10834069" y="-578901"/>
            <a:ext cx="2005712" cy="2560236"/>
            <a:chOff x="9199563" y="1098550"/>
            <a:chExt cx="269875" cy="344488"/>
          </a:xfrm>
          <a:solidFill>
            <a:schemeClr val="bg1">
              <a:lumMod val="85000"/>
              <a:alpha val="19000"/>
            </a:schemeClr>
          </a:solidFill>
        </p:grpSpPr>
        <p:sp>
          <p:nvSpPr>
            <p:cNvPr id="36" name="Freeform 138">
              <a:extLst>
                <a:ext uri="{FF2B5EF4-FFF2-40B4-BE49-F238E27FC236}">
                  <a16:creationId xmlns:a16="http://schemas.microsoft.com/office/drawing/2014/main" xmlns="" id="{93C2F976-0DBA-4BAB-B9E0-59696EEAA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3851" y="1098550"/>
              <a:ext cx="120650" cy="179388"/>
            </a:xfrm>
            <a:custGeom>
              <a:avLst/>
              <a:gdLst>
                <a:gd name="T0" fmla="*/ 12 w 32"/>
                <a:gd name="T1" fmla="*/ 36 h 48"/>
                <a:gd name="T2" fmla="*/ 18 w 32"/>
                <a:gd name="T3" fmla="*/ 42 h 48"/>
                <a:gd name="T4" fmla="*/ 32 w 32"/>
                <a:gd name="T5" fmla="*/ 48 h 48"/>
                <a:gd name="T6" fmla="*/ 28 w 32"/>
                <a:gd name="T7" fmla="*/ 0 h 48"/>
                <a:gd name="T8" fmla="*/ 16 w 32"/>
                <a:gd name="T9" fmla="*/ 1 h 48"/>
                <a:gd name="T10" fmla="*/ 19 w 32"/>
                <a:gd name="T11" fmla="*/ 38 h 48"/>
                <a:gd name="T12" fmla="*/ 10 w 32"/>
                <a:gd name="T13" fmla="*/ 8 h 48"/>
                <a:gd name="T14" fmla="*/ 4 w 32"/>
                <a:gd name="T15" fmla="*/ 8 h 48"/>
                <a:gd name="T16" fmla="*/ 0 w 32"/>
                <a:gd name="T17" fmla="*/ 16 h 48"/>
                <a:gd name="T18" fmla="*/ 6 w 32"/>
                <a:gd name="T19" fmla="*/ 36 h 48"/>
                <a:gd name="T20" fmla="*/ 12 w 32"/>
                <a:gd name="T21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8">
                  <a:moveTo>
                    <a:pt x="12" y="36"/>
                  </a:moveTo>
                  <a:cubicBezTo>
                    <a:pt x="15" y="36"/>
                    <a:pt x="18" y="39"/>
                    <a:pt x="18" y="42"/>
                  </a:cubicBezTo>
                  <a:cubicBezTo>
                    <a:pt x="18" y="45"/>
                    <a:pt x="24" y="48"/>
                    <a:pt x="32" y="4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" y="36"/>
                    <a:pt x="6" y="36"/>
                    <a:pt x="6" y="36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39">
              <a:extLst>
                <a:ext uri="{FF2B5EF4-FFF2-40B4-BE49-F238E27FC236}">
                  <a16:creationId xmlns:a16="http://schemas.microsoft.com/office/drawing/2014/main" xmlns="" id="{43936BB6-9BE8-4154-B045-EB179A7FA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1" y="1098550"/>
              <a:ext cx="119063" cy="179388"/>
            </a:xfrm>
            <a:custGeom>
              <a:avLst/>
              <a:gdLst>
                <a:gd name="T0" fmla="*/ 14 w 32"/>
                <a:gd name="T1" fmla="*/ 42 h 48"/>
                <a:gd name="T2" fmla="*/ 20 w 32"/>
                <a:gd name="T3" fmla="*/ 36 h 48"/>
                <a:gd name="T4" fmla="*/ 26 w 32"/>
                <a:gd name="T5" fmla="*/ 36 h 48"/>
                <a:gd name="T6" fmla="*/ 32 w 32"/>
                <a:gd name="T7" fmla="*/ 16 h 48"/>
                <a:gd name="T8" fmla="*/ 28 w 32"/>
                <a:gd name="T9" fmla="*/ 8 h 48"/>
                <a:gd name="T10" fmla="*/ 22 w 32"/>
                <a:gd name="T11" fmla="*/ 8 h 48"/>
                <a:gd name="T12" fmla="*/ 13 w 32"/>
                <a:gd name="T13" fmla="*/ 38 h 48"/>
                <a:gd name="T14" fmla="*/ 16 w 32"/>
                <a:gd name="T15" fmla="*/ 1 h 48"/>
                <a:gd name="T16" fmla="*/ 4 w 32"/>
                <a:gd name="T17" fmla="*/ 0 h 48"/>
                <a:gd name="T18" fmla="*/ 0 w 32"/>
                <a:gd name="T19" fmla="*/ 48 h 48"/>
                <a:gd name="T20" fmla="*/ 14 w 32"/>
                <a:gd name="T21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8">
                  <a:moveTo>
                    <a:pt x="14" y="42"/>
                  </a:moveTo>
                  <a:cubicBezTo>
                    <a:pt x="14" y="39"/>
                    <a:pt x="17" y="36"/>
                    <a:pt x="20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13" y="38"/>
                    <a:pt x="13" y="3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8" y="48"/>
                    <a:pt x="14" y="45"/>
                    <a:pt x="1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40">
              <a:extLst>
                <a:ext uri="{FF2B5EF4-FFF2-40B4-BE49-F238E27FC236}">
                  <a16:creationId xmlns:a16="http://schemas.microsoft.com/office/drawing/2014/main" xmlns="" id="{1D798DE5-7CBE-4A3E-AA55-81771F351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1354138"/>
              <a:ext cx="225425" cy="30163"/>
            </a:xfrm>
            <a:custGeom>
              <a:avLst/>
              <a:gdLst>
                <a:gd name="T0" fmla="*/ 142 w 142"/>
                <a:gd name="T1" fmla="*/ 0 h 19"/>
                <a:gd name="T2" fmla="*/ 0 w 142"/>
                <a:gd name="T3" fmla="*/ 0 h 19"/>
                <a:gd name="T4" fmla="*/ 5 w 142"/>
                <a:gd name="T5" fmla="*/ 19 h 19"/>
                <a:gd name="T6" fmla="*/ 137 w 142"/>
                <a:gd name="T7" fmla="*/ 19 h 19"/>
                <a:gd name="T8" fmla="*/ 142 w 14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9">
                  <a:moveTo>
                    <a:pt x="142" y="0"/>
                  </a:moveTo>
                  <a:lnTo>
                    <a:pt x="0" y="0"/>
                  </a:lnTo>
                  <a:lnTo>
                    <a:pt x="5" y="19"/>
                  </a:lnTo>
                  <a:lnTo>
                    <a:pt x="137" y="19"/>
                  </a:lnTo>
                  <a:lnTo>
                    <a:pt x="1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41">
              <a:extLst>
                <a:ext uri="{FF2B5EF4-FFF2-40B4-BE49-F238E27FC236}">
                  <a16:creationId xmlns:a16="http://schemas.microsoft.com/office/drawing/2014/main" xmlns="" id="{89023890-5EB5-4E28-8CE2-F0094C099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9563" y="1247775"/>
              <a:ext cx="269875" cy="90488"/>
            </a:xfrm>
            <a:custGeom>
              <a:avLst/>
              <a:gdLst>
                <a:gd name="T0" fmla="*/ 72 w 72"/>
                <a:gd name="T1" fmla="*/ 1 h 24"/>
                <a:gd name="T2" fmla="*/ 70 w 72"/>
                <a:gd name="T3" fmla="*/ 0 h 24"/>
                <a:gd name="T4" fmla="*/ 56 w 72"/>
                <a:gd name="T5" fmla="*/ 0 h 24"/>
                <a:gd name="T6" fmla="*/ 54 w 72"/>
                <a:gd name="T7" fmla="*/ 2 h 24"/>
                <a:gd name="T8" fmla="*/ 18 w 72"/>
                <a:gd name="T9" fmla="*/ 2 h 24"/>
                <a:gd name="T10" fmla="*/ 16 w 72"/>
                <a:gd name="T11" fmla="*/ 0 h 24"/>
                <a:gd name="T12" fmla="*/ 2 w 72"/>
                <a:gd name="T13" fmla="*/ 0 h 24"/>
                <a:gd name="T14" fmla="*/ 0 w 72"/>
                <a:gd name="T15" fmla="*/ 1 h 24"/>
                <a:gd name="T16" fmla="*/ 0 w 72"/>
                <a:gd name="T17" fmla="*/ 3 h 24"/>
                <a:gd name="T18" fmla="*/ 5 w 72"/>
                <a:gd name="T19" fmla="*/ 24 h 24"/>
                <a:gd name="T20" fmla="*/ 67 w 72"/>
                <a:gd name="T21" fmla="*/ 24 h 24"/>
                <a:gd name="T22" fmla="*/ 72 w 72"/>
                <a:gd name="T23" fmla="*/ 3 h 24"/>
                <a:gd name="T24" fmla="*/ 72 w 72"/>
                <a:gd name="T2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4">
                  <a:moveTo>
                    <a:pt x="72" y="1"/>
                  </a:moveTo>
                  <a:cubicBezTo>
                    <a:pt x="71" y="0"/>
                    <a:pt x="71" y="0"/>
                    <a:pt x="7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4" y="15"/>
                    <a:pt x="18" y="15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2"/>
                    <a:pt x="72" y="1"/>
                    <a:pt x="7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42">
              <a:extLst>
                <a:ext uri="{FF2B5EF4-FFF2-40B4-BE49-F238E27FC236}">
                  <a16:creationId xmlns:a16="http://schemas.microsoft.com/office/drawing/2014/main" xmlns="" id="{E5F3506C-D865-470A-A491-A25F9E6E8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2901" y="1398588"/>
              <a:ext cx="203200" cy="44450"/>
            </a:xfrm>
            <a:custGeom>
              <a:avLst/>
              <a:gdLst>
                <a:gd name="T0" fmla="*/ 0 w 54"/>
                <a:gd name="T1" fmla="*/ 0 h 12"/>
                <a:gd name="T2" fmla="*/ 3 w 54"/>
                <a:gd name="T3" fmla="*/ 11 h 12"/>
                <a:gd name="T4" fmla="*/ 5 w 54"/>
                <a:gd name="T5" fmla="*/ 12 h 12"/>
                <a:gd name="T6" fmla="*/ 49 w 54"/>
                <a:gd name="T7" fmla="*/ 12 h 12"/>
                <a:gd name="T8" fmla="*/ 51 w 54"/>
                <a:gd name="T9" fmla="*/ 11 h 12"/>
                <a:gd name="T10" fmla="*/ 54 w 54"/>
                <a:gd name="T11" fmla="*/ 0 h 12"/>
                <a:gd name="T12" fmla="*/ 0 w 5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0" y="0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2"/>
                    <a:pt x="51" y="11"/>
                    <a:pt x="51" y="11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Date Placeholder 3">
            <a:extLst>
              <a:ext uri="{FF2B5EF4-FFF2-40B4-BE49-F238E27FC236}">
                <a16:creationId xmlns:a16="http://schemas.microsoft.com/office/drawing/2014/main" xmlns="" id="{27D5ACA8-9BD3-487F-BA4A-A32913F3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4964" y="6389688"/>
            <a:ext cx="3006436" cy="365125"/>
          </a:xfrm>
        </p:spPr>
        <p:txBody>
          <a:bodyPr/>
          <a:lstStyle/>
          <a:p>
            <a:fld id="{37BCCD8B-685F-4F5F-9748-B3DA7A9D9D7C}" type="datetime1">
              <a:rPr lang="en-US" smtClean="0"/>
              <a:t>12/28/2020</a:t>
            </a:fld>
            <a:endParaRPr lang="en-US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xmlns="" id="{B3FB918D-79B7-47FD-9675-355F78153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688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3" name="Rectangle: Single Corner Rounded 42">
            <a:extLst>
              <a:ext uri="{FF2B5EF4-FFF2-40B4-BE49-F238E27FC236}">
                <a16:creationId xmlns:a16="http://schemas.microsoft.com/office/drawing/2014/main" xmlns="" id="{572D2560-40F3-437C-B91B-5EBC5F96B4C4}"/>
              </a:ext>
            </a:extLst>
          </p:cNvPr>
          <p:cNvSpPr/>
          <p:nvPr userDrawn="1"/>
        </p:nvSpPr>
        <p:spPr>
          <a:xfrm flipH="1">
            <a:off x="11617036" y="6286500"/>
            <a:ext cx="574964" cy="571500"/>
          </a:xfrm>
          <a:prstGeom prst="round1Rect">
            <a:avLst>
              <a:gd name="adj" fmla="val 50000"/>
            </a:avLst>
          </a:prstGeom>
          <a:solidFill>
            <a:srgbClr val="196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Slide Number Placeholder 5">
            <a:extLst>
              <a:ext uri="{FF2B5EF4-FFF2-40B4-BE49-F238E27FC236}">
                <a16:creationId xmlns:a16="http://schemas.microsoft.com/office/drawing/2014/main" xmlns="" id="{22D1B3C6-027A-4414-B191-7800E6412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17036" y="6389688"/>
            <a:ext cx="457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49DA96-2E8F-C94F-B51F-1B29BF0EC7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19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4" y="365125"/>
            <a:ext cx="11042072" cy="819439"/>
          </a:xfrm>
        </p:spPr>
        <p:txBody>
          <a:bodyPr>
            <a:normAutofit/>
          </a:bodyPr>
          <a:lstStyle>
            <a:lvl1pPr algn="ctr">
              <a:defRPr sz="4000" b="1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964" y="1825625"/>
            <a:ext cx="11042072" cy="435133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17B2DF13-122E-4CA1-AB55-ABA83CC953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4964" y="6389688"/>
            <a:ext cx="3006436" cy="365125"/>
          </a:xfrm>
        </p:spPr>
        <p:txBody>
          <a:bodyPr/>
          <a:lstStyle/>
          <a:p>
            <a:fld id="{1DD10EEE-A956-402F-8DAA-254B87C138A3}" type="datetime1">
              <a:rPr lang="en-US" smtClean="0"/>
              <a:t>12/28/2020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49D68797-74AF-4DC8-9666-B5F7FAF2C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89688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xmlns="" id="{A5A156CF-543E-43A0-A8C4-9BD44CFD5541}"/>
              </a:ext>
            </a:extLst>
          </p:cNvPr>
          <p:cNvSpPr/>
          <p:nvPr userDrawn="1"/>
        </p:nvSpPr>
        <p:spPr>
          <a:xfrm flipH="1">
            <a:off x="11617036" y="6286500"/>
            <a:ext cx="574964" cy="571500"/>
          </a:xfrm>
          <a:prstGeom prst="round1Rect">
            <a:avLst>
              <a:gd name="adj" fmla="val 50000"/>
            </a:avLst>
          </a:prstGeom>
          <a:solidFill>
            <a:srgbClr val="196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89D20DDD-0543-40EA-B2DB-8D6DC5E99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17036" y="6389688"/>
            <a:ext cx="457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49DA96-2E8F-C94F-B51F-1B29BF0EC7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816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A1D53-D4F3-4858-8EE2-BCEB22A81751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289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52CD0-5B20-43EB-ADE0-FE1BBD0AC722}" type="datetime1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22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C1C20-3E32-4621-B357-799912985383}" type="datetime1">
              <a:rPr lang="en-US" smtClean="0"/>
              <a:t>12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89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4DC11E-DBDD-478C-8942-D796D93E4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5C815BA-9A48-4BAE-B5D7-E94B2E768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DD4DB0D-4859-4500-BB11-B553B53E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4A7F24B-64C9-4086-9C1F-5FDC7F353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DED6FA0-C160-4C75-B17A-10C682A11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629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9AD3C-8ABA-4319-A3D9-ECCA3EA38F91}" type="datetime1">
              <a:rPr lang="en-US" smtClean="0"/>
              <a:t>12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8558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A12D78-EF00-40F8-8825-B1053F578E7A}" type="datetime1">
              <a:rPr lang="en-US" smtClean="0"/>
              <a:t>12/2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282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33A7B-7476-430B-83AF-AADB6FE3C83E}" type="datetime1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707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2C6E9-DB21-4699-A6BE-CA7B23B57C91}" type="datetime1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119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E264A-F5C2-475F-8714-1C067AB659E3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9102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D6358-9DE2-461A-8768-9A9465BB4F69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02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0F3E26-23DB-4628-9777-B83DB9FF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F449572-03E7-41F1-9640-A87BBC54C3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58EC1CB-6A54-4EF1-912E-E4F2554F0F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1249F65-8FF4-4A77-B206-F36BBE0C6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45BD97A-43EE-49C9-B68A-A589D6050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059F19A-3EBA-4133-80F0-D64A720A6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429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4F8B7E-0268-433F-B4C2-7112EA931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0F13D1A-DCE6-4400-BD50-9B6653311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064B76A-5656-4EC7-9DA5-342E61F789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B9BD7FA-ECC3-45A0-85B1-23657B6763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FAFDEFD4-8CF7-48AC-A7C7-316AE8C77F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E7A4850D-D698-4ED8-8BB2-908C5C0AD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5608FE9-C1E9-4438-8F1E-BFC9FC1D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D8D21B1-7B65-49CD-A2A9-BCFF6496F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094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6BCA29-3622-4AD4-8DDE-6DE6298C0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872BE0B-79C0-4287-93B1-4169ABEB22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F973CC-A125-4D1F-957E-37529DC26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F71677D-F509-4B4C-A737-D6EB388F9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091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B652C67-F2E9-4A9E-99B0-6990E3A7DF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04FB625-F4C8-427C-80E0-AA0E71756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293234B-884A-4601-84EB-5F7FE4C39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82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EFA9C3-AC70-4E47-ADE9-06C56A5A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5E3CB41-F6AB-4042-8F20-3ACFE8A970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76DF5D4-1763-4F6B-B765-674367C8A6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7CE06CC-F757-4883-8F8A-5AC8A44AD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22B97B8-7713-45B6-897A-0F057CB65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E9423C9-0E11-4B4C-9D69-0715D5AB7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750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BDFC09-FA2D-4C87-8ECB-68F456814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FF9E6A3-AE9A-4B48-B4F3-6F1B4AE49B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9EFB6EC-24AE-4CE7-A437-855A5C57DE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0D18F19-92AA-4F8C-9AE1-0C9D788BB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657C76A-D89E-4D24-99C7-93EC11AC3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7943CA6-5CC1-4BD9-A27B-475E8D8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077753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13" Type="http://schemas.openxmlformats.org/officeDocument/2006/relationships/vmlDrawing" Target="../drawings/vmlDrawing1.vml"  /><Relationship Id="rId14" Type="http://schemas.openxmlformats.org/officeDocument/2006/relationships/tags" Target="../tags/tag1.xml"  /><Relationship Id="rId15" Type="http://schemas.openxmlformats.org/officeDocument/2006/relationships/tags" Target="../tags/tag2.xml"  /><Relationship Id="rId16" Type="http://schemas.openxmlformats.org/officeDocument/2006/relationships/oleObject" Target="../embeddings/oleObject1.bin"  /><Relationship Id="rId17" Type="http://schemas.openxmlformats.org/officeDocument/2006/relationships/image" Target="../media/image1.emf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_rels/slideMaster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10" Type="http://schemas.openxmlformats.org/officeDocument/2006/relationships/slideLayout" Target="../slideLayouts/slideLayout21.xml"  /><Relationship Id="rId11" Type="http://schemas.openxmlformats.org/officeDocument/2006/relationships/slideLayout" Target="../slideLayouts/slideLayout22.xml"  /><Relationship Id="rId12" Type="http://schemas.openxmlformats.org/officeDocument/2006/relationships/theme" Target="../theme/theme2.xml"  /><Relationship Id="rId13" Type="http://schemas.openxmlformats.org/officeDocument/2006/relationships/vmlDrawing" Target="../drawings/vmlDrawing2.vml"  /><Relationship Id="rId14" Type="http://schemas.openxmlformats.org/officeDocument/2006/relationships/tags" Target="../tags/tag3.xml"  /><Relationship Id="rId15" Type="http://schemas.openxmlformats.org/officeDocument/2006/relationships/tags" Target="../tags/tag4.xml"  /><Relationship Id="rId16" Type="http://schemas.openxmlformats.org/officeDocument/2006/relationships/oleObject" Target="../embeddings/oleObject2.bin"  /><Relationship Id="rId17" Type="http://schemas.openxmlformats.org/officeDocument/2006/relationships/image" Target="../media/image1.emf"  /><Relationship Id="rId2" Type="http://schemas.openxmlformats.org/officeDocument/2006/relationships/slideLayout" Target="../slideLayouts/slideLayout13.xml"  /><Relationship Id="rId3" Type="http://schemas.openxmlformats.org/officeDocument/2006/relationships/slideLayout" Target="../slideLayouts/slideLayout14.xml"  /><Relationship Id="rId4" Type="http://schemas.openxmlformats.org/officeDocument/2006/relationships/slideLayout" Target="../slideLayouts/slideLayout15.xml"  /><Relationship Id="rId5" Type="http://schemas.openxmlformats.org/officeDocument/2006/relationships/slideLayout" Target="../slideLayouts/slideLayout16.xml"  /><Relationship Id="rId6" Type="http://schemas.openxmlformats.org/officeDocument/2006/relationships/slideLayout" Target="../slideLayouts/slideLayout17.xml"  /><Relationship Id="rId7" Type="http://schemas.openxmlformats.org/officeDocument/2006/relationships/slideLayout" Target="../slideLayouts/slideLayout18.xml"  /><Relationship Id="rId8" Type="http://schemas.openxmlformats.org/officeDocument/2006/relationships/slideLayout" Target="../slideLayouts/slideLayout19.xml"  /><Relationship Id="rId9" Type="http://schemas.openxmlformats.org/officeDocument/2006/relationships/slideLayout" Target="../slideLayouts/slideLayout20.xml"  /></Relationships>
</file>

<file path=ppt/slideMasters/_rels/slideMaster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3.xml"  /><Relationship Id="rId10" Type="http://schemas.openxmlformats.org/officeDocument/2006/relationships/slideLayout" Target="../slideLayouts/slideLayout32.xml"  /><Relationship Id="rId11" Type="http://schemas.openxmlformats.org/officeDocument/2006/relationships/slideLayout" Target="../slideLayouts/slideLayout33.xml"  /><Relationship Id="rId12" Type="http://schemas.openxmlformats.org/officeDocument/2006/relationships/slideLayout" Target="../slideLayouts/slideLayout34.xml"  /><Relationship Id="rId13" Type="http://schemas.openxmlformats.org/officeDocument/2006/relationships/slideLayout" Target="../slideLayouts/slideLayout35.xml"  /><Relationship Id="rId14" Type="http://schemas.openxmlformats.org/officeDocument/2006/relationships/theme" Target="../theme/theme3.xml"  /><Relationship Id="rId15" Type="http://schemas.openxmlformats.org/officeDocument/2006/relationships/vmlDrawing" Target="../drawings/vmlDrawing3.vml"  /><Relationship Id="rId16" Type="http://schemas.openxmlformats.org/officeDocument/2006/relationships/tags" Target="../tags/tag5.xml"  /><Relationship Id="rId17" Type="http://schemas.openxmlformats.org/officeDocument/2006/relationships/tags" Target="../tags/tag6.xml"  /><Relationship Id="rId18" Type="http://schemas.openxmlformats.org/officeDocument/2006/relationships/oleObject" Target="../embeddings/oleObject3.bin"  /><Relationship Id="rId19" Type="http://schemas.openxmlformats.org/officeDocument/2006/relationships/image" Target="../media/image1.emf"  /><Relationship Id="rId2" Type="http://schemas.openxmlformats.org/officeDocument/2006/relationships/slideLayout" Target="../slideLayouts/slideLayout24.xml"  /><Relationship Id="rId3" Type="http://schemas.openxmlformats.org/officeDocument/2006/relationships/slideLayout" Target="../slideLayouts/slideLayout25.xml"  /><Relationship Id="rId4" Type="http://schemas.openxmlformats.org/officeDocument/2006/relationships/slideLayout" Target="../slideLayouts/slideLayout26.xml"  /><Relationship Id="rId5" Type="http://schemas.openxmlformats.org/officeDocument/2006/relationships/slideLayout" Target="../slideLayouts/slideLayout27.xml"  /><Relationship Id="rId6" Type="http://schemas.openxmlformats.org/officeDocument/2006/relationships/slideLayout" Target="../slideLayouts/slideLayout28.xml"  /><Relationship Id="rId7" Type="http://schemas.openxmlformats.org/officeDocument/2006/relationships/slideLayout" Target="../slideLayouts/slideLayout29.xml"  /><Relationship Id="rId8" Type="http://schemas.openxmlformats.org/officeDocument/2006/relationships/slideLayout" Target="../slideLayouts/slideLayout30.xml"  /><Relationship Id="rId9" Type="http://schemas.openxmlformats.org/officeDocument/2006/relationships/slideLayout" Target="../slideLayouts/slideLayout31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9BF3092-2DDC-4D76-AE7A-EC6EFD6DB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9139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53FD26A8-10CA-4EAC-812F-1EF385618CA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7140BD2E-BDF1-448D-933C-64819BD13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4AEDCD9-00B1-4D61-B490-86E6DD1AE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4E51F7-30CA-4C9A-91E4-608969E6E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8900-C735-4CEB-9CBA-8F2221E8E507}" type="datetimeFigureOut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CD8EEA7-EA25-45CB-BEDC-1F7B9A908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246C25C-E6F2-485B-BF7B-7267F2A82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42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AFBFAF85-75C5-481B-95B6-4D0E916F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327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AFBFAF85-75C5-481B-95B6-4D0E916F2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31FBB620-8C3E-4852-94CC-44BC3CB28D2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5FFCC6A-3796-4EE7-B7B9-83766E19D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125"/>
            <a:ext cx="11201400" cy="866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21BDD8-DA7E-402E-BDA8-ECAE2E1608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09700"/>
            <a:ext cx="11201400" cy="48675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2B28253-505D-4660-82E0-8414138185BD}"/>
              </a:ext>
            </a:extLst>
          </p:cNvPr>
          <p:cNvSpPr/>
          <p:nvPr userDrawn="1"/>
        </p:nvSpPr>
        <p:spPr>
          <a:xfrm>
            <a:off x="11315383" y="6438105"/>
            <a:ext cx="381317" cy="365125"/>
          </a:xfrm>
          <a:prstGeom prst="rect">
            <a:avLst/>
          </a:prstGeom>
          <a:solidFill>
            <a:srgbClr val="564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D11696C2-3B2A-4285-A039-430054E60C72}"/>
              </a:ext>
            </a:extLst>
          </p:cNvPr>
          <p:cNvSpPr/>
          <p:nvPr userDrawn="1"/>
        </p:nvSpPr>
        <p:spPr>
          <a:xfrm>
            <a:off x="11315383" y="6803230"/>
            <a:ext cx="381317" cy="64295"/>
          </a:xfrm>
          <a:prstGeom prst="rect">
            <a:avLst/>
          </a:prstGeom>
          <a:solidFill>
            <a:srgbClr val="101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F2094FC-A2CB-46FD-9713-9A510F609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5382" y="6438105"/>
            <a:ext cx="381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6F4BE6A-5C7D-4940-BC35-BD32E2BF2E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615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3CC4187-3D87-42AF-93E9-261073530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45155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4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F3CC4187-3D87-42AF-93E9-261073530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B0F8105C-9A21-4ABD-8593-45AE92168C6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1D6F5-F8AA-4E5D-925F-E79C03511FFC}" type="datetime1">
              <a:rPr lang="en-US" smtClean="0"/>
              <a:t>1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49DA96-2E8F-C94F-B51F-1B29BF0EC7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641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notesSlide" Target="../notesSlides/notesSlide1.xml"  /><Relationship Id="rId3" Type="http://schemas.openxmlformats.org/officeDocument/2006/relationships/image" Target="../media/image2.pn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10.xml"  /><Relationship Id="rId3" Type="http://schemas.openxmlformats.org/officeDocument/2006/relationships/image" Target="../media/image2.png"  /><Relationship Id="rId4" Type="http://schemas.openxmlformats.org/officeDocument/2006/relationships/image" Target="../media/image12.png"  /><Relationship Id="rId5" Type="http://schemas.openxmlformats.org/officeDocument/2006/relationships/image" Target="../media/image13.png"  /><Relationship Id="rId6" Type="http://schemas.openxmlformats.org/officeDocument/2006/relationships/image" Target="../media/image14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1.xml"  /><Relationship Id="rId3" Type="http://schemas.openxmlformats.org/officeDocument/2006/relationships/image" Target="../media/image15.png"  /><Relationship Id="rId4" Type="http://schemas.openxmlformats.org/officeDocument/2006/relationships/image" Target="../media/image16.png"  /><Relationship Id="rId5" Type="http://schemas.openxmlformats.org/officeDocument/2006/relationships/image" Target="../media/image17.png"  /><Relationship Id="rId6" Type="http://schemas.openxmlformats.org/officeDocument/2006/relationships/image" Target="../media/image18.png"  /><Relationship Id="rId7" Type="http://schemas.openxmlformats.org/officeDocument/2006/relationships/image" Target="../media/image2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2.xml"  /><Relationship Id="rId3" Type="http://schemas.openxmlformats.org/officeDocument/2006/relationships/image" Target="../media/image19.png"  /><Relationship Id="rId4" Type="http://schemas.openxmlformats.org/officeDocument/2006/relationships/image" Target="../media/image20.png"  /><Relationship Id="rId5" Type="http://schemas.openxmlformats.org/officeDocument/2006/relationships/image" Target="../media/image21.png"  /><Relationship Id="rId6" Type="http://schemas.openxmlformats.org/officeDocument/2006/relationships/image" Target="../media/image22.png"  /><Relationship Id="rId7" Type="http://schemas.openxmlformats.org/officeDocument/2006/relationships/image" Target="../media/image23.png"  /><Relationship Id="rId8" Type="http://schemas.openxmlformats.org/officeDocument/2006/relationships/image" Target="../media/image2.pn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3.xml"  /><Relationship Id="rId3" Type="http://schemas.openxmlformats.org/officeDocument/2006/relationships/image" Target="../media/image24.png"  /><Relationship Id="rId4" Type="http://schemas.openxmlformats.org/officeDocument/2006/relationships/image" Target="../media/image25.png"  /><Relationship Id="rId5" Type="http://schemas.openxmlformats.org/officeDocument/2006/relationships/image" Target="../media/image26.png"  /><Relationship Id="rId6" Type="http://schemas.openxmlformats.org/officeDocument/2006/relationships/image" Target="../media/image27.png"  /><Relationship Id="rId7" Type="http://schemas.openxmlformats.org/officeDocument/2006/relationships/image" Target="../media/image28.png"  /><Relationship Id="rId8" Type="http://schemas.openxmlformats.org/officeDocument/2006/relationships/image" Target="../media/image2.png"  /></Relationships>
</file>

<file path=ppt/slides/_rels/slide1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4.xml"  /><Relationship Id="rId3" Type="http://schemas.openxmlformats.org/officeDocument/2006/relationships/image" Target="../media/image29.png"  /><Relationship Id="rId4" Type="http://schemas.openxmlformats.org/officeDocument/2006/relationships/image" Target="../media/image30.png"  /><Relationship Id="rId5" Type="http://schemas.openxmlformats.org/officeDocument/2006/relationships/image" Target="../media/image31.png"  /><Relationship Id="rId6" Type="http://schemas.openxmlformats.org/officeDocument/2006/relationships/image" Target="../media/image32.png"  /><Relationship Id="rId7" Type="http://schemas.openxmlformats.org/officeDocument/2006/relationships/image" Target="../media/image2.png"  /></Relationships>
</file>

<file path=ppt/slides/_rels/slide1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5.xml"  /><Relationship Id="rId3" Type="http://schemas.openxmlformats.org/officeDocument/2006/relationships/image" Target="../media/image33.png"  /><Relationship Id="rId4" Type="http://schemas.openxmlformats.org/officeDocument/2006/relationships/image" Target="../media/image34.png"  /><Relationship Id="rId5" Type="http://schemas.openxmlformats.org/officeDocument/2006/relationships/image" Target="../media/image35.png"  /><Relationship Id="rId6" Type="http://schemas.openxmlformats.org/officeDocument/2006/relationships/image" Target="../media/image36.png"  /><Relationship Id="rId7" Type="http://schemas.openxmlformats.org/officeDocument/2006/relationships/image" Target="../media/image37.png"  /><Relationship Id="rId8" Type="http://schemas.openxmlformats.org/officeDocument/2006/relationships/image" Target="../media/image38.png"  /><Relationship Id="rId9" Type="http://schemas.openxmlformats.org/officeDocument/2006/relationships/image" Target="../media/image2.png"  /></Relationships>
</file>

<file path=ppt/slides/_rels/slide1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6.xml"  /><Relationship Id="rId3" Type="http://schemas.openxmlformats.org/officeDocument/2006/relationships/image" Target="../media/image39.png"  /><Relationship Id="rId4" Type="http://schemas.openxmlformats.org/officeDocument/2006/relationships/image" Target="../media/image40.png"  /><Relationship Id="rId5" Type="http://schemas.openxmlformats.org/officeDocument/2006/relationships/image" Target="../media/image41.png"  /><Relationship Id="rId6" Type="http://schemas.openxmlformats.org/officeDocument/2006/relationships/image" Target="../media/image2.png"  /></Relationships>
</file>

<file path=ppt/slides/_rels/slide1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7.xml"  /><Relationship Id="rId3" Type="http://schemas.openxmlformats.org/officeDocument/2006/relationships/image" Target="../media/image42.png"  /><Relationship Id="rId4" Type="http://schemas.openxmlformats.org/officeDocument/2006/relationships/image" Target="../media/image43.png"  /><Relationship Id="rId5" Type="http://schemas.openxmlformats.org/officeDocument/2006/relationships/image" Target="../media/image44.png"  /><Relationship Id="rId6" Type="http://schemas.openxmlformats.org/officeDocument/2006/relationships/image" Target="../media/image45.png"  /><Relationship Id="rId7" Type="http://schemas.openxmlformats.org/officeDocument/2006/relationships/image" Target="../media/image46.png"  /><Relationship Id="rId8" Type="http://schemas.openxmlformats.org/officeDocument/2006/relationships/image" Target="../media/image2.png"  /></Relationships>
</file>

<file path=ppt/slides/_rels/slide1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notesSlide" Target="../notesSlides/notesSlide18.xml"  /><Relationship Id="rId3" Type="http://schemas.openxmlformats.org/officeDocument/2006/relationships/image" Target="../media/image47.png"  /><Relationship Id="rId4" Type="http://schemas.openxmlformats.org/officeDocument/2006/relationships/image" Target="../media/image2.png"  /></Relationships>
</file>

<file path=ppt/slides/_rels/slide1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19.xml"  /><Relationship Id="rId3" Type="http://schemas.openxmlformats.org/officeDocument/2006/relationships/image" Target="../media/image48.png"  /><Relationship Id="rId4" Type="http://schemas.openxmlformats.org/officeDocument/2006/relationships/image" Target="../media/image49.png"  /><Relationship Id="rId5" Type="http://schemas.openxmlformats.org/officeDocument/2006/relationships/image" Target="../media/image50.png"  /><Relationship Id="rId6" Type="http://schemas.openxmlformats.org/officeDocument/2006/relationships/image" Target="../media/image51.pn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notesSlide" Target="../notesSlides/notesSlide2.xml"  /><Relationship Id="rId3" Type="http://schemas.openxmlformats.org/officeDocument/2006/relationships/image" Target="../media/image2.png"  /><Relationship Id="rId4" Type="http://schemas.openxmlformats.org/officeDocument/2006/relationships/image" Target="../media/image3.png"  /></Relationships>
</file>

<file path=ppt/slides/_rels/slide2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0.xml"  /><Relationship Id="rId3" Type="http://schemas.openxmlformats.org/officeDocument/2006/relationships/image" Target="../media/image52.png"  /><Relationship Id="rId4" Type="http://schemas.openxmlformats.org/officeDocument/2006/relationships/image" Target="../media/image53.png"  /><Relationship Id="rId5" Type="http://schemas.openxmlformats.org/officeDocument/2006/relationships/image" Target="../media/image54.png"  /><Relationship Id="rId6" Type="http://schemas.openxmlformats.org/officeDocument/2006/relationships/image" Target="../media/image2.png"  /></Relationships>
</file>

<file path=ppt/slides/_rels/slide2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1.xml"  /><Relationship Id="rId3" Type="http://schemas.openxmlformats.org/officeDocument/2006/relationships/image" Target="../media/image2.png"  /><Relationship Id="rId4" Type="http://schemas.openxmlformats.org/officeDocument/2006/relationships/image" Target="../media/image55.png"  /><Relationship Id="rId5" Type="http://schemas.openxmlformats.org/officeDocument/2006/relationships/image" Target="../media/image56.png"  /></Relationships>
</file>

<file path=ppt/slides/_rels/slide2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2.xml"  /><Relationship Id="rId3" Type="http://schemas.openxmlformats.org/officeDocument/2006/relationships/image" Target="../media/image57.png"  /><Relationship Id="rId4" Type="http://schemas.openxmlformats.org/officeDocument/2006/relationships/image" Target="../media/image58.png"  /><Relationship Id="rId5" Type="http://schemas.openxmlformats.org/officeDocument/2006/relationships/image" Target="../media/image2.png"  /></Relationships>
</file>

<file path=ppt/slides/_rels/slide2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3.xml"  /><Relationship Id="rId3" Type="http://schemas.openxmlformats.org/officeDocument/2006/relationships/image" Target="../media/image2.png"  /><Relationship Id="rId4" Type="http://schemas.openxmlformats.org/officeDocument/2006/relationships/image" Target="../media/image59.png"  /><Relationship Id="rId5" Type="http://schemas.openxmlformats.org/officeDocument/2006/relationships/image" Target="../media/image60.png"  /></Relationships>
</file>

<file path=ppt/slides/_rels/slide2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4.xml"  /><Relationship Id="rId3" Type="http://schemas.openxmlformats.org/officeDocument/2006/relationships/image" Target="../media/image2.png"  /><Relationship Id="rId4" Type="http://schemas.openxmlformats.org/officeDocument/2006/relationships/image" Target="../media/image61.png"  /><Relationship Id="rId5" Type="http://schemas.openxmlformats.org/officeDocument/2006/relationships/image" Target="../media/image62.png"  /></Relationships>
</file>

<file path=ppt/slides/_rels/slide2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5.xml"  /><Relationship Id="rId3" Type="http://schemas.openxmlformats.org/officeDocument/2006/relationships/image" Target="../media/image2.png"  /><Relationship Id="rId4" Type="http://schemas.openxmlformats.org/officeDocument/2006/relationships/image" Target="../media/image63.png"  /><Relationship Id="rId5" Type="http://schemas.openxmlformats.org/officeDocument/2006/relationships/image" Target="../media/image64.png"  /></Relationships>
</file>

<file path=ppt/slides/_rels/slide2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notesSlide" Target="../notesSlides/notesSlide26.xml"  /><Relationship Id="rId3" Type="http://schemas.openxmlformats.org/officeDocument/2006/relationships/image" Target="../media/image2.png"  /><Relationship Id="rId4" Type="http://schemas.openxmlformats.org/officeDocument/2006/relationships/image" Target="../media/image65.png"  /><Relationship Id="rId5" Type="http://schemas.openxmlformats.org/officeDocument/2006/relationships/image" Target="../media/image66.png"  /></Relationships>
</file>

<file path=ppt/slides/_rels/slide2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31.xml"  /><Relationship Id="rId10" Type="http://schemas.openxmlformats.org/officeDocument/2006/relationships/image" Target="../media/image2.png"  /><Relationship Id="rId2" Type="http://schemas.openxmlformats.org/officeDocument/2006/relationships/notesSlide" Target="../notesSlides/notesSlide27.xml"  /><Relationship Id="rId3" Type="http://schemas.openxmlformats.org/officeDocument/2006/relationships/image" Target="../media/image67.png"  /><Relationship Id="rId4" Type="http://schemas.openxmlformats.org/officeDocument/2006/relationships/image" Target="../media/image68.png"  /><Relationship Id="rId5" Type="http://schemas.openxmlformats.org/officeDocument/2006/relationships/image" Target="../media/image69.jpeg"  /><Relationship Id="rId6" Type="http://schemas.openxmlformats.org/officeDocument/2006/relationships/image" Target="../media/image70.png"  /><Relationship Id="rId7" Type="http://schemas.openxmlformats.org/officeDocument/2006/relationships/image" Target="../media/image71.png"  /><Relationship Id="rId8" Type="http://schemas.openxmlformats.org/officeDocument/2006/relationships/image" Target="../media/image72.png"  /><Relationship Id="rId9" Type="http://schemas.microsoft.com/office/2007/relationships/hdphoto" Target="../embeddings/oleObject4.wdp"  /></Relationships>
</file>

<file path=ppt/slides/_rels/slide2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28.xml"  /><Relationship Id="rId3" Type="http://schemas.openxmlformats.org/officeDocument/2006/relationships/image" Target="../media/image73.png"  /><Relationship Id="rId4" Type="http://schemas.openxmlformats.org/officeDocument/2006/relationships/image" Target="../media/image74.png"  /><Relationship Id="rId5" Type="http://schemas.openxmlformats.org/officeDocument/2006/relationships/image" Target="../media/image75.png"  /><Relationship Id="rId6" Type="http://schemas.openxmlformats.org/officeDocument/2006/relationships/image" Target="../media/image76.png"  /><Relationship Id="rId7" Type="http://schemas.openxmlformats.org/officeDocument/2006/relationships/image" Target="../media/image2.png"  /></Relationships>
</file>

<file path=ppt/slides/_rels/slide2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29.xml"  /><Relationship Id="rId3" Type="http://schemas.openxmlformats.org/officeDocument/2006/relationships/image" Target="../media/image77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notesSlide" Target="../notesSlides/notesSlide3.xml"  /><Relationship Id="rId3" Type="http://schemas.openxmlformats.org/officeDocument/2006/relationships/image" Target="../media/image2.png"  /><Relationship Id="rId4" Type="http://schemas.openxmlformats.org/officeDocument/2006/relationships/image" Target="../media/image3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notesSlide" Target="../notesSlides/notesSlide4.xml"  /><Relationship Id="rId3" Type="http://schemas.openxmlformats.org/officeDocument/2006/relationships/image" Target="../media/image2.png"  /><Relationship Id="rId4" Type="http://schemas.openxmlformats.org/officeDocument/2006/relationships/image" Target="../media/image3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notesSlide" Target="../notesSlides/notesSlide5.xml"  /><Relationship Id="rId3" Type="http://schemas.openxmlformats.org/officeDocument/2006/relationships/image" Target="../media/image4.png"  /><Relationship Id="rId4" Type="http://schemas.openxmlformats.org/officeDocument/2006/relationships/image" Target="../media/image5.png"  /><Relationship Id="rId5" Type="http://schemas.openxmlformats.org/officeDocument/2006/relationships/image" Target="../media/image2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6.xml"  /><Relationship Id="rId3" Type="http://schemas.openxmlformats.org/officeDocument/2006/relationships/image" Target="../media/image6.png"  /><Relationship Id="rId4" Type="http://schemas.openxmlformats.org/officeDocument/2006/relationships/image" Target="../media/image2.pn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7.xml"  /><Relationship Id="rId3" Type="http://schemas.openxmlformats.org/officeDocument/2006/relationships/image" Target="../media/image7.png"  /><Relationship Id="rId4" Type="http://schemas.openxmlformats.org/officeDocument/2006/relationships/image" Target="../media/image2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8.xml"  /><Relationship Id="rId3" Type="http://schemas.openxmlformats.org/officeDocument/2006/relationships/image" Target="../media/image8.png"  /><Relationship Id="rId4" Type="http://schemas.openxmlformats.org/officeDocument/2006/relationships/image" Target="../media/image2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8.xml"  /><Relationship Id="rId2" Type="http://schemas.openxmlformats.org/officeDocument/2006/relationships/notesSlide" Target="../notesSlides/notesSlide9.xml"  /><Relationship Id="rId3" Type="http://schemas.openxmlformats.org/officeDocument/2006/relationships/image" Target="../media/image2.png"  /><Relationship Id="rId4" Type="http://schemas.openxmlformats.org/officeDocument/2006/relationships/image" Target="../media/image9.png"  /><Relationship Id="rId5" Type="http://schemas.openxmlformats.org/officeDocument/2006/relationships/image" Target="../media/image10.png"  /><Relationship Id="rId6" Type="http://schemas.openxmlformats.org/officeDocument/2006/relationships/image" Target="../media/image11.png" 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Freeform: Shape 145">
            <a:extLst>
              <a:ext uri="{FF2B5EF4-FFF2-40B4-BE49-F238E27FC236}">
                <a16:creationId xmlns:a16="http://schemas.microsoft.com/office/drawing/2014/main" xmlns="" id="{3642E353-5C93-4A27-902A-8ED41A14CBEF}"/>
              </a:ext>
            </a:extLst>
          </p:cNvPr>
          <p:cNvSpPr/>
          <p:nvPr/>
        </p:nvSpPr>
        <p:spPr>
          <a:xfrm>
            <a:off x="539769" y="5891898"/>
            <a:ext cx="783951" cy="737502"/>
          </a:xfrm>
          <a:custGeom>
            <a:avLst/>
            <a:gdLst>
              <a:gd name="connsiteX0" fmla="*/ 274794 w 1057996"/>
              <a:gd name="connsiteY0" fmla="*/ 134143 h 995309"/>
              <a:gd name="connsiteX1" fmla="*/ 17619 w 1057996"/>
              <a:gd name="connsiteY1" fmla="*/ 762793 h 995309"/>
              <a:gd name="connsiteX2" fmla="*/ 741519 w 1057996"/>
              <a:gd name="connsiteY2" fmla="*/ 981868 h 995309"/>
              <a:gd name="connsiteX3" fmla="*/ 1055844 w 1057996"/>
              <a:gd name="connsiteY3" fmla="*/ 419893 h 995309"/>
              <a:gd name="connsiteX4" fmla="*/ 846294 w 1057996"/>
              <a:gd name="connsiteY4" fmla="*/ 19843 h 995309"/>
              <a:gd name="connsiteX5" fmla="*/ 274794 w 1057996"/>
              <a:gd name="connsiteY5" fmla="*/ 134143 h 99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7996" h="995309">
                <a:moveTo>
                  <a:pt x="274794" y="134143"/>
                </a:moveTo>
                <a:cubicBezTo>
                  <a:pt x="136681" y="257968"/>
                  <a:pt x="-60168" y="621506"/>
                  <a:pt x="17619" y="762793"/>
                </a:cubicBezTo>
                <a:cubicBezTo>
                  <a:pt x="95406" y="904080"/>
                  <a:pt x="568482" y="1039018"/>
                  <a:pt x="741519" y="981868"/>
                </a:cubicBezTo>
                <a:cubicBezTo>
                  <a:pt x="914557" y="924718"/>
                  <a:pt x="1038382" y="580230"/>
                  <a:pt x="1055844" y="419893"/>
                </a:cubicBezTo>
                <a:cubicBezTo>
                  <a:pt x="1073306" y="259556"/>
                  <a:pt x="982819" y="67468"/>
                  <a:pt x="846294" y="19843"/>
                </a:cubicBezTo>
                <a:cubicBezTo>
                  <a:pt x="709769" y="-27782"/>
                  <a:pt x="412907" y="10318"/>
                  <a:pt x="274794" y="134143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8528E6BF-039B-40A0-83F3-061F667D2490}"/>
              </a:ext>
            </a:extLst>
          </p:cNvPr>
          <p:cNvSpPr/>
          <p:nvPr/>
        </p:nvSpPr>
        <p:spPr>
          <a:xfrm>
            <a:off x="7160575" y="0"/>
            <a:ext cx="5031426" cy="6858000"/>
          </a:xfrm>
          <a:custGeom>
            <a:avLst/>
            <a:gdLst>
              <a:gd name="connsiteX0" fmla="*/ 634 w 4115097"/>
              <a:gd name="connsiteY0" fmla="*/ 0 h 6858000"/>
              <a:gd name="connsiteX1" fmla="*/ 4115097 w 4115097"/>
              <a:gd name="connsiteY1" fmla="*/ 0 h 6858000"/>
              <a:gd name="connsiteX2" fmla="*/ 4115097 w 4115097"/>
              <a:gd name="connsiteY2" fmla="*/ 6858000 h 6858000"/>
              <a:gd name="connsiteX3" fmla="*/ 4112397 w 4115097"/>
              <a:gd name="connsiteY3" fmla="*/ 6858000 h 6858000"/>
              <a:gd name="connsiteX4" fmla="*/ 4056649 w 4115097"/>
              <a:gd name="connsiteY4" fmla="*/ 6811547 h 6858000"/>
              <a:gd name="connsiteX5" fmla="*/ 3632497 w 4115097"/>
              <a:gd name="connsiteY5" fmla="*/ 6121400 h 6858000"/>
              <a:gd name="connsiteX6" fmla="*/ 3048297 w 4115097"/>
              <a:gd name="connsiteY6" fmla="*/ 2540000 h 6858000"/>
              <a:gd name="connsiteX7" fmla="*/ 2260897 w 4115097"/>
              <a:gd name="connsiteY7" fmla="*/ 1054100 h 6858000"/>
              <a:gd name="connsiteX8" fmla="*/ 686097 w 4115097"/>
              <a:gd name="connsiteY8" fmla="*/ 736600 h 6858000"/>
              <a:gd name="connsiteX9" fmla="*/ 0 w 4115097"/>
              <a:gd name="connsiteY9" fmla="*/ 272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15097" h="6858000">
                <a:moveTo>
                  <a:pt x="634" y="0"/>
                </a:moveTo>
                <a:lnTo>
                  <a:pt x="4115097" y="0"/>
                </a:lnTo>
                <a:lnTo>
                  <a:pt x="4115097" y="6858000"/>
                </a:lnTo>
                <a:lnTo>
                  <a:pt x="4112397" y="6858000"/>
                </a:lnTo>
                <a:lnTo>
                  <a:pt x="4056649" y="6811547"/>
                </a:lnTo>
                <a:cubicBezTo>
                  <a:pt x="3899718" y="6669617"/>
                  <a:pt x="3743622" y="6447367"/>
                  <a:pt x="3632497" y="6121400"/>
                </a:cubicBezTo>
                <a:cubicBezTo>
                  <a:pt x="3378497" y="5376333"/>
                  <a:pt x="3276897" y="3384550"/>
                  <a:pt x="3048297" y="2540000"/>
                </a:cubicBezTo>
                <a:cubicBezTo>
                  <a:pt x="2819697" y="1695450"/>
                  <a:pt x="2654597" y="1354667"/>
                  <a:pt x="2260897" y="1054100"/>
                </a:cubicBezTo>
                <a:cubicBezTo>
                  <a:pt x="1867197" y="753533"/>
                  <a:pt x="1043814" y="948267"/>
                  <a:pt x="686097" y="736600"/>
                </a:cubicBezTo>
                <a:cubicBezTo>
                  <a:pt x="417809" y="577850"/>
                  <a:pt x="25697" y="286941"/>
                  <a:pt x="0" y="27285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904BE55C-987C-4EC0-88D1-6E418939C461}"/>
              </a:ext>
            </a:extLst>
          </p:cNvPr>
          <p:cNvGrpSpPr/>
          <p:nvPr/>
        </p:nvGrpSpPr>
        <p:grpSpPr>
          <a:xfrm>
            <a:off x="533402" y="492718"/>
            <a:ext cx="1728037" cy="722285"/>
            <a:chOff x="533402" y="492718"/>
            <a:chExt cx="1728037" cy="72228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AB16553A-CF11-49FB-ADD4-064B47EAACA3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sym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5A06A9CF-3AB3-4E3E-9A9D-F1BF7D37EB09}"/>
                </a:ext>
              </a:extLst>
            </p:cNvPr>
            <p:cNvSpPr txBox="1"/>
            <p:nvPr/>
          </p:nvSpPr>
          <p:spPr>
            <a:xfrm>
              <a:off x="533402" y="661005"/>
              <a:ext cx="1728037" cy="55399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ko-KR" altLang="en-US" sz="3600" dirty="0">
                  <a:solidFill>
                    <a:srgbClr val="193C47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기능 개괄</a:t>
              </a:r>
              <a:endPara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xmlns="" id="{7AA87DAD-C80B-4B71-B463-E06118E1AF91}"/>
              </a:ext>
            </a:extLst>
          </p:cNvPr>
          <p:cNvSpPr/>
          <p:nvPr/>
        </p:nvSpPr>
        <p:spPr>
          <a:xfrm>
            <a:off x="1409663" y="5435162"/>
            <a:ext cx="377495" cy="355831"/>
          </a:xfrm>
          <a:custGeom>
            <a:avLst/>
            <a:gdLst>
              <a:gd name="connsiteX0" fmla="*/ 12304 w 377495"/>
              <a:gd name="connsiteY0" fmla="*/ 24873 h 355831"/>
              <a:gd name="connsiteX1" fmla="*/ 73264 w 377495"/>
              <a:gd name="connsiteY1" fmla="*/ 352533 h 355831"/>
              <a:gd name="connsiteX2" fmla="*/ 370444 w 377495"/>
              <a:gd name="connsiteY2" fmla="*/ 184893 h 355831"/>
              <a:gd name="connsiteX3" fmla="*/ 263764 w 377495"/>
              <a:gd name="connsiteY3" fmla="*/ 40113 h 355831"/>
              <a:gd name="connsiteX4" fmla="*/ 12304 w 377495"/>
              <a:gd name="connsiteY4" fmla="*/ 24873 h 35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495" h="355831">
                <a:moveTo>
                  <a:pt x="12304" y="24873"/>
                </a:moveTo>
                <a:cubicBezTo>
                  <a:pt x="-19446" y="76943"/>
                  <a:pt x="13574" y="325863"/>
                  <a:pt x="73264" y="352533"/>
                </a:cubicBezTo>
                <a:cubicBezTo>
                  <a:pt x="132954" y="379203"/>
                  <a:pt x="338694" y="236963"/>
                  <a:pt x="370444" y="184893"/>
                </a:cubicBezTo>
                <a:cubicBezTo>
                  <a:pt x="402194" y="132823"/>
                  <a:pt x="319644" y="65513"/>
                  <a:pt x="263764" y="40113"/>
                </a:cubicBezTo>
                <a:cubicBezTo>
                  <a:pt x="207884" y="14713"/>
                  <a:pt x="44054" y="-27197"/>
                  <a:pt x="12304" y="24873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xmlns="" id="{5747E394-6641-4AA4-98E9-00631AC56587}"/>
              </a:ext>
            </a:extLst>
          </p:cNvPr>
          <p:cNvGrpSpPr/>
          <p:nvPr/>
        </p:nvGrpSpPr>
        <p:grpSpPr>
          <a:xfrm>
            <a:off x="5196028" y="2331479"/>
            <a:ext cx="443460" cy="388758"/>
            <a:chOff x="2670175" y="1112838"/>
            <a:chExt cx="360363" cy="315913"/>
          </a:xfrm>
          <a:solidFill>
            <a:schemeClr val="bg1"/>
          </a:solidFill>
        </p:grpSpPr>
        <p:sp>
          <p:nvSpPr>
            <p:cNvPr id="152" name="Freeform 793">
              <a:extLst>
                <a:ext uri="{FF2B5EF4-FFF2-40B4-BE49-F238E27FC236}">
                  <a16:creationId xmlns:a16="http://schemas.microsoft.com/office/drawing/2014/main" xmlns="" id="{FA279F00-57C0-4764-8723-91152835A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228725"/>
              <a:ext cx="300038" cy="200025"/>
            </a:xfrm>
            <a:custGeom>
              <a:avLst/>
              <a:gdLst>
                <a:gd name="T0" fmla="*/ 78 w 80"/>
                <a:gd name="T1" fmla="*/ 53 h 53"/>
                <a:gd name="T2" fmla="*/ 2 w 80"/>
                <a:gd name="T3" fmla="*/ 53 h 53"/>
                <a:gd name="T4" fmla="*/ 0 w 80"/>
                <a:gd name="T5" fmla="*/ 51 h 53"/>
                <a:gd name="T6" fmla="*/ 0 w 80"/>
                <a:gd name="T7" fmla="*/ 2 h 53"/>
                <a:gd name="T8" fmla="*/ 2 w 80"/>
                <a:gd name="T9" fmla="*/ 0 h 53"/>
                <a:gd name="T10" fmla="*/ 4 w 80"/>
                <a:gd name="T11" fmla="*/ 2 h 53"/>
                <a:gd name="T12" fmla="*/ 4 w 80"/>
                <a:gd name="T13" fmla="*/ 49 h 53"/>
                <a:gd name="T14" fmla="*/ 76 w 80"/>
                <a:gd name="T15" fmla="*/ 49 h 53"/>
                <a:gd name="T16" fmla="*/ 76 w 80"/>
                <a:gd name="T17" fmla="*/ 2 h 53"/>
                <a:gd name="T18" fmla="*/ 78 w 80"/>
                <a:gd name="T19" fmla="*/ 0 h 53"/>
                <a:gd name="T20" fmla="*/ 80 w 80"/>
                <a:gd name="T21" fmla="*/ 2 h 53"/>
                <a:gd name="T22" fmla="*/ 80 w 80"/>
                <a:gd name="T23" fmla="*/ 51 h 53"/>
                <a:gd name="T24" fmla="*/ 78 w 80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53">
                  <a:moveTo>
                    <a:pt x="78" y="53"/>
                  </a:move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2"/>
                    <a:pt x="0" y="5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"/>
                    <a:pt x="77" y="0"/>
                    <a:pt x="78" y="0"/>
                  </a:cubicBezTo>
                  <a:cubicBezTo>
                    <a:pt x="79" y="0"/>
                    <a:pt x="80" y="1"/>
                    <a:pt x="80" y="2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0" y="52"/>
                    <a:pt x="79" y="53"/>
                    <a:pt x="7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794">
              <a:extLst>
                <a:ext uri="{FF2B5EF4-FFF2-40B4-BE49-F238E27FC236}">
                  <a16:creationId xmlns:a16="http://schemas.microsoft.com/office/drawing/2014/main" xmlns="" id="{8A92F8B1-2E79-457C-8DE6-02785371B5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1277938"/>
              <a:ext cx="134938" cy="106363"/>
            </a:xfrm>
            <a:custGeom>
              <a:avLst/>
              <a:gdLst>
                <a:gd name="T0" fmla="*/ 34 w 36"/>
                <a:gd name="T1" fmla="*/ 28 h 28"/>
                <a:gd name="T2" fmla="*/ 2 w 36"/>
                <a:gd name="T3" fmla="*/ 28 h 28"/>
                <a:gd name="T4" fmla="*/ 0 w 36"/>
                <a:gd name="T5" fmla="*/ 26 h 28"/>
                <a:gd name="T6" fmla="*/ 0 w 36"/>
                <a:gd name="T7" fmla="*/ 2 h 28"/>
                <a:gd name="T8" fmla="*/ 2 w 36"/>
                <a:gd name="T9" fmla="*/ 0 h 28"/>
                <a:gd name="T10" fmla="*/ 34 w 36"/>
                <a:gd name="T11" fmla="*/ 0 h 28"/>
                <a:gd name="T12" fmla="*/ 36 w 36"/>
                <a:gd name="T13" fmla="*/ 2 h 28"/>
                <a:gd name="T14" fmla="*/ 36 w 36"/>
                <a:gd name="T15" fmla="*/ 26 h 28"/>
                <a:gd name="T16" fmla="*/ 34 w 36"/>
                <a:gd name="T17" fmla="*/ 28 h 28"/>
                <a:gd name="T18" fmla="*/ 4 w 36"/>
                <a:gd name="T19" fmla="*/ 24 h 28"/>
                <a:gd name="T20" fmla="*/ 32 w 36"/>
                <a:gd name="T21" fmla="*/ 24 h 28"/>
                <a:gd name="T22" fmla="*/ 32 w 36"/>
                <a:gd name="T23" fmla="*/ 4 h 28"/>
                <a:gd name="T24" fmla="*/ 4 w 36"/>
                <a:gd name="T25" fmla="*/ 4 h 28"/>
                <a:gd name="T26" fmla="*/ 4 w 36"/>
                <a:gd name="T2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28">
                  <a:moveTo>
                    <a:pt x="34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7"/>
                    <a:pt x="35" y="28"/>
                    <a:pt x="34" y="28"/>
                  </a:cubicBezTo>
                  <a:close/>
                  <a:moveTo>
                    <a:pt x="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Freeform 795">
              <a:extLst>
                <a:ext uri="{FF2B5EF4-FFF2-40B4-BE49-F238E27FC236}">
                  <a16:creationId xmlns:a16="http://schemas.microsoft.com/office/drawing/2014/main" xmlns="" id="{6960DF57-79FA-4B45-9D02-A55469D7B4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1313" y="1277938"/>
              <a:ext cx="88900" cy="150813"/>
            </a:xfrm>
            <a:custGeom>
              <a:avLst/>
              <a:gdLst>
                <a:gd name="T0" fmla="*/ 22 w 24"/>
                <a:gd name="T1" fmla="*/ 40 h 40"/>
                <a:gd name="T2" fmla="*/ 2 w 24"/>
                <a:gd name="T3" fmla="*/ 40 h 40"/>
                <a:gd name="T4" fmla="*/ 0 w 24"/>
                <a:gd name="T5" fmla="*/ 38 h 40"/>
                <a:gd name="T6" fmla="*/ 0 w 24"/>
                <a:gd name="T7" fmla="*/ 2 h 40"/>
                <a:gd name="T8" fmla="*/ 2 w 24"/>
                <a:gd name="T9" fmla="*/ 0 h 40"/>
                <a:gd name="T10" fmla="*/ 22 w 24"/>
                <a:gd name="T11" fmla="*/ 0 h 40"/>
                <a:gd name="T12" fmla="*/ 24 w 24"/>
                <a:gd name="T13" fmla="*/ 2 h 40"/>
                <a:gd name="T14" fmla="*/ 24 w 24"/>
                <a:gd name="T15" fmla="*/ 38 h 40"/>
                <a:gd name="T16" fmla="*/ 22 w 24"/>
                <a:gd name="T17" fmla="*/ 40 h 40"/>
                <a:gd name="T18" fmla="*/ 4 w 24"/>
                <a:gd name="T19" fmla="*/ 36 h 40"/>
                <a:gd name="T20" fmla="*/ 20 w 24"/>
                <a:gd name="T21" fmla="*/ 36 h 40"/>
                <a:gd name="T22" fmla="*/ 20 w 24"/>
                <a:gd name="T23" fmla="*/ 4 h 40"/>
                <a:gd name="T24" fmla="*/ 4 w 24"/>
                <a:gd name="T25" fmla="*/ 4 h 40"/>
                <a:gd name="T26" fmla="*/ 4 w 24"/>
                <a:gd name="T2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0">
                  <a:moveTo>
                    <a:pt x="22" y="40"/>
                  </a:move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3" y="40"/>
                    <a:pt x="22" y="40"/>
                  </a:cubicBezTo>
                  <a:close/>
                  <a:moveTo>
                    <a:pt x="4" y="36"/>
                  </a:moveTo>
                  <a:cubicBezTo>
                    <a:pt x="20" y="36"/>
                    <a:pt x="20" y="36"/>
                    <a:pt x="20" y="3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796">
              <a:extLst>
                <a:ext uri="{FF2B5EF4-FFF2-40B4-BE49-F238E27FC236}">
                  <a16:creationId xmlns:a16="http://schemas.microsoft.com/office/drawing/2014/main" xmlns="" id="{A76791D3-E29D-4179-8D88-2AC78518E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112838"/>
              <a:ext cx="360363" cy="74613"/>
            </a:xfrm>
            <a:custGeom>
              <a:avLst/>
              <a:gdLst>
                <a:gd name="T0" fmla="*/ 94 w 96"/>
                <a:gd name="T1" fmla="*/ 20 h 20"/>
                <a:gd name="T2" fmla="*/ 2 w 96"/>
                <a:gd name="T3" fmla="*/ 20 h 20"/>
                <a:gd name="T4" fmla="*/ 0 w 96"/>
                <a:gd name="T5" fmla="*/ 19 h 20"/>
                <a:gd name="T6" fmla="*/ 0 w 96"/>
                <a:gd name="T7" fmla="*/ 17 h 20"/>
                <a:gd name="T8" fmla="*/ 8 w 96"/>
                <a:gd name="T9" fmla="*/ 1 h 20"/>
                <a:gd name="T10" fmla="*/ 10 w 96"/>
                <a:gd name="T11" fmla="*/ 0 h 20"/>
                <a:gd name="T12" fmla="*/ 86 w 96"/>
                <a:gd name="T13" fmla="*/ 0 h 20"/>
                <a:gd name="T14" fmla="*/ 88 w 96"/>
                <a:gd name="T15" fmla="*/ 1 h 20"/>
                <a:gd name="T16" fmla="*/ 96 w 96"/>
                <a:gd name="T17" fmla="*/ 17 h 20"/>
                <a:gd name="T18" fmla="*/ 96 w 96"/>
                <a:gd name="T19" fmla="*/ 19 h 20"/>
                <a:gd name="T20" fmla="*/ 94 w 96"/>
                <a:gd name="T21" fmla="*/ 20 h 20"/>
                <a:gd name="T22" fmla="*/ 5 w 96"/>
                <a:gd name="T23" fmla="*/ 16 h 20"/>
                <a:gd name="T24" fmla="*/ 91 w 96"/>
                <a:gd name="T25" fmla="*/ 16 h 20"/>
                <a:gd name="T26" fmla="*/ 85 w 96"/>
                <a:gd name="T27" fmla="*/ 4 h 20"/>
                <a:gd name="T28" fmla="*/ 11 w 96"/>
                <a:gd name="T29" fmla="*/ 4 h 20"/>
                <a:gd name="T30" fmla="*/ 5 w 96"/>
                <a:gd name="T31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20">
                  <a:moveTo>
                    <a:pt x="9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7" y="0"/>
                    <a:pt x="88" y="1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8"/>
                    <a:pt x="96" y="18"/>
                    <a:pt x="96" y="19"/>
                  </a:cubicBezTo>
                  <a:cubicBezTo>
                    <a:pt x="95" y="20"/>
                    <a:pt x="95" y="20"/>
                    <a:pt x="94" y="20"/>
                  </a:cubicBezTo>
                  <a:close/>
                  <a:moveTo>
                    <a:pt x="5" y="16"/>
                  </a:moveTo>
                  <a:cubicBezTo>
                    <a:pt x="91" y="16"/>
                    <a:pt x="91" y="16"/>
                    <a:pt x="91" y="16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11" y="4"/>
                    <a:pt x="11" y="4"/>
                    <a:pt x="11" y="4"/>
                  </a:cubicBezTo>
                  <a:lnTo>
                    <a:pt x="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797">
              <a:extLst>
                <a:ext uri="{FF2B5EF4-FFF2-40B4-BE49-F238E27FC236}">
                  <a16:creationId xmlns:a16="http://schemas.microsoft.com/office/drawing/2014/main" xmlns="" id="{2A135FB5-9497-4C1D-A61E-750392AFB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173163"/>
              <a:ext cx="360363" cy="90488"/>
            </a:xfrm>
            <a:custGeom>
              <a:avLst/>
              <a:gdLst>
                <a:gd name="T0" fmla="*/ 60 w 96"/>
                <a:gd name="T1" fmla="*/ 24 h 24"/>
                <a:gd name="T2" fmla="*/ 48 w 96"/>
                <a:gd name="T3" fmla="*/ 19 h 24"/>
                <a:gd name="T4" fmla="*/ 36 w 96"/>
                <a:gd name="T5" fmla="*/ 24 h 24"/>
                <a:gd name="T6" fmla="*/ 22 w 96"/>
                <a:gd name="T7" fmla="*/ 17 h 24"/>
                <a:gd name="T8" fmla="*/ 14 w 96"/>
                <a:gd name="T9" fmla="*/ 20 h 24"/>
                <a:gd name="T10" fmla="*/ 0 w 96"/>
                <a:gd name="T11" fmla="*/ 6 h 24"/>
                <a:gd name="T12" fmla="*/ 0 w 96"/>
                <a:gd name="T13" fmla="*/ 2 h 24"/>
                <a:gd name="T14" fmla="*/ 2 w 96"/>
                <a:gd name="T15" fmla="*/ 0 h 24"/>
                <a:gd name="T16" fmla="*/ 94 w 96"/>
                <a:gd name="T17" fmla="*/ 0 h 24"/>
                <a:gd name="T18" fmla="*/ 96 w 96"/>
                <a:gd name="T19" fmla="*/ 2 h 24"/>
                <a:gd name="T20" fmla="*/ 96 w 96"/>
                <a:gd name="T21" fmla="*/ 6 h 24"/>
                <a:gd name="T22" fmla="*/ 82 w 96"/>
                <a:gd name="T23" fmla="*/ 20 h 24"/>
                <a:gd name="T24" fmla="*/ 74 w 96"/>
                <a:gd name="T25" fmla="*/ 17 h 24"/>
                <a:gd name="T26" fmla="*/ 60 w 96"/>
                <a:gd name="T27" fmla="*/ 24 h 24"/>
                <a:gd name="T28" fmla="*/ 48 w 96"/>
                <a:gd name="T29" fmla="*/ 15 h 24"/>
                <a:gd name="T30" fmla="*/ 50 w 96"/>
                <a:gd name="T31" fmla="*/ 15 h 24"/>
                <a:gd name="T32" fmla="*/ 60 w 96"/>
                <a:gd name="T33" fmla="*/ 20 h 24"/>
                <a:gd name="T34" fmla="*/ 72 w 96"/>
                <a:gd name="T35" fmla="*/ 13 h 24"/>
                <a:gd name="T36" fmla="*/ 74 w 96"/>
                <a:gd name="T37" fmla="*/ 12 h 24"/>
                <a:gd name="T38" fmla="*/ 75 w 96"/>
                <a:gd name="T39" fmla="*/ 13 h 24"/>
                <a:gd name="T40" fmla="*/ 82 w 96"/>
                <a:gd name="T41" fmla="*/ 16 h 24"/>
                <a:gd name="T42" fmla="*/ 92 w 96"/>
                <a:gd name="T43" fmla="*/ 6 h 24"/>
                <a:gd name="T44" fmla="*/ 92 w 96"/>
                <a:gd name="T45" fmla="*/ 4 h 24"/>
                <a:gd name="T46" fmla="*/ 4 w 96"/>
                <a:gd name="T47" fmla="*/ 4 h 24"/>
                <a:gd name="T48" fmla="*/ 4 w 96"/>
                <a:gd name="T49" fmla="*/ 6 h 24"/>
                <a:gd name="T50" fmla="*/ 14 w 96"/>
                <a:gd name="T51" fmla="*/ 16 h 24"/>
                <a:gd name="T52" fmla="*/ 21 w 96"/>
                <a:gd name="T53" fmla="*/ 13 h 24"/>
                <a:gd name="T54" fmla="*/ 22 w 96"/>
                <a:gd name="T55" fmla="*/ 12 h 24"/>
                <a:gd name="T56" fmla="*/ 24 w 96"/>
                <a:gd name="T57" fmla="*/ 13 h 24"/>
                <a:gd name="T58" fmla="*/ 36 w 96"/>
                <a:gd name="T59" fmla="*/ 20 h 24"/>
                <a:gd name="T60" fmla="*/ 47 w 96"/>
                <a:gd name="T61" fmla="*/ 15 h 24"/>
                <a:gd name="T62" fmla="*/ 48 w 96"/>
                <a:gd name="T6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24">
                  <a:moveTo>
                    <a:pt x="60" y="24"/>
                  </a:moveTo>
                  <a:cubicBezTo>
                    <a:pt x="56" y="24"/>
                    <a:pt x="51" y="22"/>
                    <a:pt x="48" y="19"/>
                  </a:cubicBezTo>
                  <a:cubicBezTo>
                    <a:pt x="45" y="22"/>
                    <a:pt x="40" y="24"/>
                    <a:pt x="36" y="24"/>
                  </a:cubicBezTo>
                  <a:cubicBezTo>
                    <a:pt x="31" y="24"/>
                    <a:pt x="25" y="21"/>
                    <a:pt x="22" y="17"/>
                  </a:cubicBezTo>
                  <a:cubicBezTo>
                    <a:pt x="20" y="19"/>
                    <a:pt x="17" y="20"/>
                    <a:pt x="14" y="20"/>
                  </a:cubicBezTo>
                  <a:cubicBezTo>
                    <a:pt x="6" y="20"/>
                    <a:pt x="0" y="14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6" y="14"/>
                    <a:pt x="90" y="20"/>
                    <a:pt x="82" y="20"/>
                  </a:cubicBezTo>
                  <a:cubicBezTo>
                    <a:pt x="79" y="20"/>
                    <a:pt x="76" y="19"/>
                    <a:pt x="74" y="17"/>
                  </a:cubicBezTo>
                  <a:cubicBezTo>
                    <a:pt x="71" y="21"/>
                    <a:pt x="65" y="24"/>
                    <a:pt x="60" y="24"/>
                  </a:cubicBezTo>
                  <a:close/>
                  <a:moveTo>
                    <a:pt x="48" y="15"/>
                  </a:moveTo>
                  <a:cubicBezTo>
                    <a:pt x="49" y="15"/>
                    <a:pt x="49" y="15"/>
                    <a:pt x="50" y="15"/>
                  </a:cubicBezTo>
                  <a:cubicBezTo>
                    <a:pt x="52" y="18"/>
                    <a:pt x="56" y="20"/>
                    <a:pt x="60" y="20"/>
                  </a:cubicBezTo>
                  <a:cubicBezTo>
                    <a:pt x="65" y="20"/>
                    <a:pt x="70" y="17"/>
                    <a:pt x="72" y="13"/>
                  </a:cubicBezTo>
                  <a:cubicBezTo>
                    <a:pt x="73" y="12"/>
                    <a:pt x="73" y="12"/>
                    <a:pt x="74" y="12"/>
                  </a:cubicBezTo>
                  <a:cubicBezTo>
                    <a:pt x="74" y="12"/>
                    <a:pt x="75" y="12"/>
                    <a:pt x="75" y="13"/>
                  </a:cubicBezTo>
                  <a:cubicBezTo>
                    <a:pt x="78" y="15"/>
                    <a:pt x="80" y="16"/>
                    <a:pt x="82" y="16"/>
                  </a:cubicBezTo>
                  <a:cubicBezTo>
                    <a:pt x="88" y="16"/>
                    <a:pt x="92" y="12"/>
                    <a:pt x="92" y="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2"/>
                    <a:pt x="8" y="16"/>
                    <a:pt x="14" y="16"/>
                  </a:cubicBezTo>
                  <a:cubicBezTo>
                    <a:pt x="16" y="16"/>
                    <a:pt x="18" y="15"/>
                    <a:pt x="21" y="13"/>
                  </a:cubicBezTo>
                  <a:cubicBezTo>
                    <a:pt x="21" y="12"/>
                    <a:pt x="22" y="12"/>
                    <a:pt x="22" y="12"/>
                  </a:cubicBezTo>
                  <a:cubicBezTo>
                    <a:pt x="23" y="12"/>
                    <a:pt x="23" y="12"/>
                    <a:pt x="24" y="13"/>
                  </a:cubicBezTo>
                  <a:cubicBezTo>
                    <a:pt x="26" y="17"/>
                    <a:pt x="31" y="20"/>
                    <a:pt x="36" y="20"/>
                  </a:cubicBezTo>
                  <a:cubicBezTo>
                    <a:pt x="40" y="20"/>
                    <a:pt x="44" y="18"/>
                    <a:pt x="47" y="15"/>
                  </a:cubicBezTo>
                  <a:cubicBezTo>
                    <a:pt x="47" y="15"/>
                    <a:pt x="47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798">
              <a:extLst>
                <a:ext uri="{FF2B5EF4-FFF2-40B4-BE49-F238E27FC236}">
                  <a16:creationId xmlns:a16="http://schemas.microsoft.com/office/drawing/2014/main" xmlns="" id="{728B75CF-5C4E-4743-8564-1DC4A2613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1112838"/>
              <a:ext cx="30163" cy="120650"/>
            </a:xfrm>
            <a:custGeom>
              <a:avLst/>
              <a:gdLst>
                <a:gd name="T0" fmla="*/ 2 w 8"/>
                <a:gd name="T1" fmla="*/ 32 h 32"/>
                <a:gd name="T2" fmla="*/ 0 w 8"/>
                <a:gd name="T3" fmla="*/ 30 h 32"/>
                <a:gd name="T4" fmla="*/ 0 w 8"/>
                <a:gd name="T5" fmla="*/ 18 h 32"/>
                <a:gd name="T6" fmla="*/ 0 w 8"/>
                <a:gd name="T7" fmla="*/ 18 h 32"/>
                <a:gd name="T8" fmla="*/ 4 w 8"/>
                <a:gd name="T9" fmla="*/ 2 h 32"/>
                <a:gd name="T10" fmla="*/ 6 w 8"/>
                <a:gd name="T11" fmla="*/ 0 h 32"/>
                <a:gd name="T12" fmla="*/ 8 w 8"/>
                <a:gd name="T13" fmla="*/ 2 h 32"/>
                <a:gd name="T14" fmla="*/ 4 w 8"/>
                <a:gd name="T15" fmla="*/ 18 h 32"/>
                <a:gd name="T16" fmla="*/ 4 w 8"/>
                <a:gd name="T17" fmla="*/ 30 h 32"/>
                <a:gd name="T18" fmla="*/ 2 w 8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2">
                  <a:moveTo>
                    <a:pt x="2" y="32"/>
                  </a:moveTo>
                  <a:cubicBezTo>
                    <a:pt x="1" y="32"/>
                    <a:pt x="0" y="31"/>
                    <a:pt x="0" y="3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1"/>
                    <a:pt x="3" y="32"/>
                    <a:pt x="2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99">
              <a:extLst>
                <a:ext uri="{FF2B5EF4-FFF2-40B4-BE49-F238E27FC236}">
                  <a16:creationId xmlns:a16="http://schemas.microsoft.com/office/drawing/2014/main" xmlns="" id="{FA4F2CA3-C182-4CC7-9DD9-D83BF2C81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213" y="1112838"/>
              <a:ext cx="14288" cy="131763"/>
            </a:xfrm>
            <a:custGeom>
              <a:avLst/>
              <a:gdLst>
                <a:gd name="T0" fmla="*/ 2 w 4"/>
                <a:gd name="T1" fmla="*/ 35 h 35"/>
                <a:gd name="T2" fmla="*/ 0 w 4"/>
                <a:gd name="T3" fmla="*/ 33 h 35"/>
                <a:gd name="T4" fmla="*/ 0 w 4"/>
                <a:gd name="T5" fmla="*/ 2 h 35"/>
                <a:gd name="T6" fmla="*/ 2 w 4"/>
                <a:gd name="T7" fmla="*/ 0 h 35"/>
                <a:gd name="T8" fmla="*/ 4 w 4"/>
                <a:gd name="T9" fmla="*/ 2 h 35"/>
                <a:gd name="T10" fmla="*/ 4 w 4"/>
                <a:gd name="T11" fmla="*/ 33 h 35"/>
                <a:gd name="T12" fmla="*/ 2 w 4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5">
                  <a:moveTo>
                    <a:pt x="2" y="35"/>
                  </a:moveTo>
                  <a:cubicBezTo>
                    <a:pt x="1" y="35"/>
                    <a:pt x="0" y="34"/>
                    <a:pt x="0" y="3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3" y="35"/>
                    <a:pt x="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800">
              <a:extLst>
                <a:ext uri="{FF2B5EF4-FFF2-40B4-BE49-F238E27FC236}">
                  <a16:creationId xmlns:a16="http://schemas.microsoft.com/office/drawing/2014/main" xmlns="" id="{2085B2F8-3DC8-4E38-84EA-C850390A2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763" y="1112838"/>
              <a:ext cx="30163" cy="120650"/>
            </a:xfrm>
            <a:custGeom>
              <a:avLst/>
              <a:gdLst>
                <a:gd name="T0" fmla="*/ 6 w 8"/>
                <a:gd name="T1" fmla="*/ 32 h 32"/>
                <a:gd name="T2" fmla="*/ 4 w 8"/>
                <a:gd name="T3" fmla="*/ 30 h 32"/>
                <a:gd name="T4" fmla="*/ 4 w 8"/>
                <a:gd name="T5" fmla="*/ 18 h 32"/>
                <a:gd name="T6" fmla="*/ 0 w 8"/>
                <a:gd name="T7" fmla="*/ 2 h 32"/>
                <a:gd name="T8" fmla="*/ 2 w 8"/>
                <a:gd name="T9" fmla="*/ 0 h 32"/>
                <a:gd name="T10" fmla="*/ 4 w 8"/>
                <a:gd name="T11" fmla="*/ 2 h 32"/>
                <a:gd name="T12" fmla="*/ 8 w 8"/>
                <a:gd name="T13" fmla="*/ 18 h 32"/>
                <a:gd name="T14" fmla="*/ 8 w 8"/>
                <a:gd name="T15" fmla="*/ 18 h 32"/>
                <a:gd name="T16" fmla="*/ 8 w 8"/>
                <a:gd name="T17" fmla="*/ 30 h 32"/>
                <a:gd name="T18" fmla="*/ 6 w 8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2">
                  <a:moveTo>
                    <a:pt x="6" y="32"/>
                  </a:moveTo>
                  <a:cubicBezTo>
                    <a:pt x="5" y="32"/>
                    <a:pt x="4" y="31"/>
                    <a:pt x="4" y="30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4" y="0"/>
                    <a:pt x="4" y="2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1"/>
                    <a:pt x="7" y="32"/>
                    <a:pt x="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Oval 801">
              <a:extLst>
                <a:ext uri="{FF2B5EF4-FFF2-40B4-BE49-F238E27FC236}">
                  <a16:creationId xmlns:a16="http://schemas.microsoft.com/office/drawing/2014/main" xmlns="" id="{FDF096DB-EFBD-498E-A2F6-037220EAD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763" y="1354138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xmlns="" id="{3A6DB35D-3BF8-46E0-AB88-DEFF700618C8}"/>
              </a:ext>
            </a:extLst>
          </p:cNvPr>
          <p:cNvGrpSpPr/>
          <p:nvPr/>
        </p:nvGrpSpPr>
        <p:grpSpPr>
          <a:xfrm>
            <a:off x="727402" y="1544915"/>
            <a:ext cx="408683" cy="569726"/>
            <a:chOff x="645402" y="1647552"/>
            <a:chExt cx="408683" cy="569726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xmlns="" id="{FDFC9187-5587-4408-9DD9-56BDB4DF22EF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FF338A2C-EDCA-4D67-A082-B5DF36E4AB54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8CB0CA76-B1AB-4998-B14F-34D06B4E252E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1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74" name="그룹 73">
            <a:extLst>
              <a:ext uri="{FF2B5EF4-FFF2-40B4-BE49-F238E27FC236}">
                <a16:creationId xmlns:a16="http://schemas.microsoft.com/office/drawing/2014/main" xmlns="" id="{5A8A2939-1371-4FF8-9D53-1E3DCDA8BE56}"/>
              </a:ext>
            </a:extLst>
          </p:cNvPr>
          <p:cNvGrpSpPr/>
          <p:nvPr/>
        </p:nvGrpSpPr>
        <p:grpSpPr>
          <a:xfrm>
            <a:off x="727402" y="2593541"/>
            <a:ext cx="408683" cy="569726"/>
            <a:chOff x="645402" y="1647552"/>
            <a:chExt cx="408683" cy="569726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xmlns="" id="{65D03D0C-D80C-496F-9EB1-1111DCCB183E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0D138F70-A3DE-4B08-8091-7990F3293009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8352C218-4F9A-40E6-AAFA-67EA0E0E3347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2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xmlns="" id="{3923425E-1333-4AE3-AA76-5C81E2046F02}"/>
              </a:ext>
            </a:extLst>
          </p:cNvPr>
          <p:cNvGrpSpPr/>
          <p:nvPr/>
        </p:nvGrpSpPr>
        <p:grpSpPr>
          <a:xfrm>
            <a:off x="727402" y="3642167"/>
            <a:ext cx="408683" cy="569726"/>
            <a:chOff x="645402" y="1647552"/>
            <a:chExt cx="408683" cy="569726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78BBB497-0318-40AD-98F5-BCAB7E05371A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xmlns="" id="{575A8905-2ADB-4996-90D0-9F151B18A129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2492C301-A455-4D3F-A825-2B5D16732606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3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xmlns="" id="{3D1323A2-DBE3-46AE-A95E-2E9C3403E2C5}"/>
              </a:ext>
            </a:extLst>
          </p:cNvPr>
          <p:cNvGrpSpPr/>
          <p:nvPr/>
        </p:nvGrpSpPr>
        <p:grpSpPr>
          <a:xfrm>
            <a:off x="727402" y="4690793"/>
            <a:ext cx="408683" cy="569726"/>
            <a:chOff x="645402" y="1647552"/>
            <a:chExt cx="408683" cy="569726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A50D7F20-EA3B-44FC-866F-ABBCD17871EB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xmlns="" id="{F8087257-D0E2-4A46-98AB-FC5EE95231B9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xmlns="" id="{3BCACB61-A86C-4A7B-884F-32A720F72526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4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xmlns="" id="{19362890-23BE-439F-8F62-B7D5CAE44B8A}"/>
              </a:ext>
            </a:extLst>
          </p:cNvPr>
          <p:cNvGrpSpPr/>
          <p:nvPr/>
        </p:nvGrpSpPr>
        <p:grpSpPr>
          <a:xfrm>
            <a:off x="727402" y="5739418"/>
            <a:ext cx="408683" cy="569726"/>
            <a:chOff x="645402" y="1647552"/>
            <a:chExt cx="408683" cy="569726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xmlns="" id="{6E6F3E9C-2AB8-4D63-83E2-D9A1B0C0CF02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xmlns="" id="{874E08C6-F352-4099-8876-BB8CFB0341C8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xmlns="" id="{CD5D08A6-894B-4F7E-912D-52B5173E7B08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5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xmlns="" id="{A0EFCB1A-9932-4D1D-A079-90A7E3E28AE9}"/>
              </a:ext>
            </a:extLst>
          </p:cNvPr>
          <p:cNvGrpSpPr/>
          <p:nvPr/>
        </p:nvGrpSpPr>
        <p:grpSpPr>
          <a:xfrm>
            <a:off x="6397439" y="1460273"/>
            <a:ext cx="408683" cy="569726"/>
            <a:chOff x="645402" y="1647552"/>
            <a:chExt cx="408683" cy="569726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xmlns="" id="{608ED13E-CA1C-4082-9E58-FE504D35403F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xmlns="" id="{C2BB0D06-C937-4C73-8A5E-9C55AFC990AC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xmlns="" id="{DB7E284A-2498-4C99-A172-00749687FE60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6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12" name="그룹 111">
            <a:extLst>
              <a:ext uri="{FF2B5EF4-FFF2-40B4-BE49-F238E27FC236}">
                <a16:creationId xmlns:a16="http://schemas.microsoft.com/office/drawing/2014/main" xmlns="" id="{DA55E195-C17B-4967-959A-5E5792E340C5}"/>
              </a:ext>
            </a:extLst>
          </p:cNvPr>
          <p:cNvGrpSpPr/>
          <p:nvPr/>
        </p:nvGrpSpPr>
        <p:grpSpPr>
          <a:xfrm>
            <a:off x="6397439" y="2508899"/>
            <a:ext cx="408683" cy="569726"/>
            <a:chOff x="645402" y="1647552"/>
            <a:chExt cx="408683" cy="569726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xmlns="" id="{847C7ECC-E7DB-40A7-A7A8-21A0FA0B35CB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="" id="{1D781759-870F-48E7-ACD5-F7AE7D2A7981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="" id="{7FBB5422-497F-46D3-B689-D0289D664359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7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xmlns="" id="{7103DAE8-1644-499A-A1BE-ADA5A55B9791}"/>
              </a:ext>
            </a:extLst>
          </p:cNvPr>
          <p:cNvGrpSpPr/>
          <p:nvPr/>
        </p:nvGrpSpPr>
        <p:grpSpPr>
          <a:xfrm>
            <a:off x="6397439" y="3557525"/>
            <a:ext cx="408683" cy="569726"/>
            <a:chOff x="645402" y="1647552"/>
            <a:chExt cx="408683" cy="569726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xmlns="" id="{8339C24D-BCAC-46FC-93AB-4E960FEA9D04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xmlns="" id="{0B9F8705-9BC3-450F-BF53-16D9111DCF3D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BC1735C1-F3F9-4FEE-A067-CEA7BB9DCB74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8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33" name="그룹 132">
            <a:extLst>
              <a:ext uri="{FF2B5EF4-FFF2-40B4-BE49-F238E27FC236}">
                <a16:creationId xmlns:a16="http://schemas.microsoft.com/office/drawing/2014/main" xmlns="" id="{BDD544E0-4710-401C-B392-D69A32C9B0FB}"/>
              </a:ext>
            </a:extLst>
          </p:cNvPr>
          <p:cNvGrpSpPr/>
          <p:nvPr/>
        </p:nvGrpSpPr>
        <p:grpSpPr>
          <a:xfrm>
            <a:off x="6397439" y="4606151"/>
            <a:ext cx="408683" cy="569726"/>
            <a:chOff x="645402" y="1647552"/>
            <a:chExt cx="408683" cy="569726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xmlns="" id="{B067B8BC-3A97-41B7-B5E1-74D8774B414C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xmlns="" id="{5983CC94-3A5C-40F3-BB01-F411D26A9101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xmlns="" id="{DDFD72E3-2754-480E-995E-7D2859A7C9BB}"/>
                </a:ext>
              </a:extLst>
            </p:cNvPr>
            <p:cNvSpPr txBox="1"/>
            <p:nvPr/>
          </p:nvSpPr>
          <p:spPr>
            <a:xfrm>
              <a:off x="709315" y="1652407"/>
              <a:ext cx="27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9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37" name="그룹 136">
            <a:extLst>
              <a:ext uri="{FF2B5EF4-FFF2-40B4-BE49-F238E27FC236}">
                <a16:creationId xmlns:a16="http://schemas.microsoft.com/office/drawing/2014/main" xmlns="" id="{1962EA9A-D3CF-45D1-A548-913FFBE3B755}"/>
              </a:ext>
            </a:extLst>
          </p:cNvPr>
          <p:cNvGrpSpPr/>
          <p:nvPr/>
        </p:nvGrpSpPr>
        <p:grpSpPr>
          <a:xfrm>
            <a:off x="6397439" y="5654776"/>
            <a:ext cx="545778" cy="569726"/>
            <a:chOff x="645402" y="1647552"/>
            <a:chExt cx="545778" cy="569726"/>
          </a:xfrm>
        </p:grpSpPr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xmlns="" id="{F3132849-FBD4-4DEB-80E1-501E86360622}"/>
                </a:ext>
              </a:extLst>
            </p:cNvPr>
            <p:cNvSpPr txBox="1"/>
            <p:nvPr/>
          </p:nvSpPr>
          <p:spPr>
            <a:xfrm rot="2700000">
              <a:off x="645402" y="1647552"/>
              <a:ext cx="408683" cy="408683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xmlns="" id="{09798DED-D9AE-470C-8A16-D63F2F12F8AE}"/>
                </a:ext>
              </a:extLst>
            </p:cNvPr>
            <p:cNvSpPr txBox="1"/>
            <p:nvPr/>
          </p:nvSpPr>
          <p:spPr>
            <a:xfrm rot="2700000">
              <a:off x="709015" y="1935817"/>
              <a:ext cx="281461" cy="281461"/>
            </a:xfrm>
            <a:custGeom>
              <a:avLst/>
              <a:gdLst>
                <a:gd name="connsiteX0" fmla="*/ 0 w 408683"/>
                <a:gd name="connsiteY0" fmla="*/ 68115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8" fmla="*/ 0 w 408683"/>
                <a:gd name="connsiteY8" fmla="*/ 68115 h 408683"/>
                <a:gd name="connsiteX0" fmla="*/ 0 w 408683"/>
                <a:gd name="connsiteY0" fmla="*/ 340568 h 408683"/>
                <a:gd name="connsiteX1" fmla="*/ 68115 w 408683"/>
                <a:gd name="connsiteY1" fmla="*/ 0 h 408683"/>
                <a:gd name="connsiteX2" fmla="*/ 340568 w 408683"/>
                <a:gd name="connsiteY2" fmla="*/ 0 h 408683"/>
                <a:gd name="connsiteX3" fmla="*/ 408683 w 408683"/>
                <a:gd name="connsiteY3" fmla="*/ 68115 h 408683"/>
                <a:gd name="connsiteX4" fmla="*/ 408683 w 408683"/>
                <a:gd name="connsiteY4" fmla="*/ 340568 h 408683"/>
                <a:gd name="connsiteX5" fmla="*/ 340568 w 408683"/>
                <a:gd name="connsiteY5" fmla="*/ 408683 h 408683"/>
                <a:gd name="connsiteX6" fmla="*/ 68115 w 408683"/>
                <a:gd name="connsiteY6" fmla="*/ 408683 h 408683"/>
                <a:gd name="connsiteX7" fmla="*/ 0 w 408683"/>
                <a:gd name="connsiteY7" fmla="*/ 340568 h 408683"/>
                <a:gd name="connsiteX0" fmla="*/ 68115 w 408683"/>
                <a:gd name="connsiteY0" fmla="*/ 0 h 408683"/>
                <a:gd name="connsiteX1" fmla="*/ 340568 w 408683"/>
                <a:gd name="connsiteY1" fmla="*/ 0 h 408683"/>
                <a:gd name="connsiteX2" fmla="*/ 408683 w 408683"/>
                <a:gd name="connsiteY2" fmla="*/ 68115 h 408683"/>
                <a:gd name="connsiteX3" fmla="*/ 408683 w 408683"/>
                <a:gd name="connsiteY3" fmla="*/ 340568 h 408683"/>
                <a:gd name="connsiteX4" fmla="*/ 340568 w 408683"/>
                <a:gd name="connsiteY4" fmla="*/ 408683 h 408683"/>
                <a:gd name="connsiteX5" fmla="*/ 68115 w 408683"/>
                <a:gd name="connsiteY5" fmla="*/ 408683 h 408683"/>
                <a:gd name="connsiteX6" fmla="*/ 0 w 408683"/>
                <a:gd name="connsiteY6" fmla="*/ 340568 h 408683"/>
                <a:gd name="connsiteX7" fmla="*/ 159555 w 408683"/>
                <a:gd name="connsiteY7" fmla="*/ 91440 h 408683"/>
                <a:gd name="connsiteX0" fmla="*/ 340568 w 408683"/>
                <a:gd name="connsiteY0" fmla="*/ 0 h 408683"/>
                <a:gd name="connsiteX1" fmla="*/ 408683 w 408683"/>
                <a:gd name="connsiteY1" fmla="*/ 68115 h 408683"/>
                <a:gd name="connsiteX2" fmla="*/ 408683 w 408683"/>
                <a:gd name="connsiteY2" fmla="*/ 340568 h 408683"/>
                <a:gd name="connsiteX3" fmla="*/ 340568 w 408683"/>
                <a:gd name="connsiteY3" fmla="*/ 408683 h 408683"/>
                <a:gd name="connsiteX4" fmla="*/ 68115 w 408683"/>
                <a:gd name="connsiteY4" fmla="*/ 408683 h 408683"/>
                <a:gd name="connsiteX5" fmla="*/ 0 w 408683"/>
                <a:gd name="connsiteY5" fmla="*/ 340568 h 408683"/>
                <a:gd name="connsiteX6" fmla="*/ 159555 w 408683"/>
                <a:gd name="connsiteY6" fmla="*/ 91440 h 408683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5" fmla="*/ 159555 w 408683"/>
                <a:gd name="connsiteY5" fmla="*/ 23325 h 340568"/>
                <a:gd name="connsiteX0" fmla="*/ 408683 w 408683"/>
                <a:gd name="connsiteY0" fmla="*/ 0 h 340568"/>
                <a:gd name="connsiteX1" fmla="*/ 408683 w 408683"/>
                <a:gd name="connsiteY1" fmla="*/ 272453 h 340568"/>
                <a:gd name="connsiteX2" fmla="*/ 340568 w 408683"/>
                <a:gd name="connsiteY2" fmla="*/ 340568 h 340568"/>
                <a:gd name="connsiteX3" fmla="*/ 68115 w 408683"/>
                <a:gd name="connsiteY3" fmla="*/ 340568 h 340568"/>
                <a:gd name="connsiteX4" fmla="*/ 0 w 408683"/>
                <a:gd name="connsiteY4" fmla="*/ 272453 h 340568"/>
                <a:gd name="connsiteX0" fmla="*/ 340568 w 340568"/>
                <a:gd name="connsiteY0" fmla="*/ 0 h 340568"/>
                <a:gd name="connsiteX1" fmla="*/ 340568 w 340568"/>
                <a:gd name="connsiteY1" fmla="*/ 272453 h 340568"/>
                <a:gd name="connsiteX2" fmla="*/ 272453 w 340568"/>
                <a:gd name="connsiteY2" fmla="*/ 340568 h 340568"/>
                <a:gd name="connsiteX3" fmla="*/ 0 w 340568"/>
                <a:gd name="connsiteY3" fmla="*/ 340568 h 34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568" h="340568">
                  <a:moveTo>
                    <a:pt x="340568" y="0"/>
                  </a:moveTo>
                  <a:lnTo>
                    <a:pt x="340568" y="272453"/>
                  </a:lnTo>
                  <a:cubicBezTo>
                    <a:pt x="340568" y="310072"/>
                    <a:pt x="310072" y="340568"/>
                    <a:pt x="272453" y="340568"/>
                  </a:cubicBezTo>
                  <a:lnTo>
                    <a:pt x="0" y="340568"/>
                  </a:lnTo>
                </a:path>
              </a:pathLst>
            </a:custGeom>
            <a:noFill/>
            <a:ln cap="rnd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xmlns="" id="{401F9965-3C53-473A-AA5D-B00FF91D730F}"/>
                </a:ext>
              </a:extLst>
            </p:cNvPr>
            <p:cNvSpPr txBox="1"/>
            <p:nvPr/>
          </p:nvSpPr>
          <p:spPr>
            <a:xfrm>
              <a:off x="650722" y="1707215"/>
              <a:ext cx="5404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rPr>
                <a:t>10</a:t>
              </a:r>
              <a:endParaRPr lang="ko-KR" altLang="en-US" dirty="0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B473EC3-AF68-4F4D-BE93-60ABB3AA2405}"/>
              </a:ext>
            </a:extLst>
          </p:cNvPr>
          <p:cNvSpPr txBox="1"/>
          <p:nvPr/>
        </p:nvSpPr>
        <p:spPr>
          <a:xfrm>
            <a:off x="1475539" y="1549770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회원가입 </a:t>
            </a:r>
            <a:r>
              <a:rPr lang="en-US" altLang="ko-KR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- </a:t>
            </a:r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유효성검사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xmlns="" id="{853E92D1-4047-4692-8BB7-108699E005AD}"/>
              </a:ext>
            </a:extLst>
          </p:cNvPr>
          <p:cNvSpPr txBox="1"/>
          <p:nvPr/>
        </p:nvSpPr>
        <p:spPr>
          <a:xfrm>
            <a:off x="1475539" y="2623954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로그인 </a:t>
            </a:r>
            <a:r>
              <a:rPr lang="en-US" altLang="ko-KR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- </a:t>
            </a:r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유효성검사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xmlns="" id="{ED914F58-C01A-43B7-8671-88B077569ABD}"/>
              </a:ext>
            </a:extLst>
          </p:cNvPr>
          <p:cNvSpPr txBox="1"/>
          <p:nvPr/>
        </p:nvSpPr>
        <p:spPr>
          <a:xfrm>
            <a:off x="1475539" y="3671244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마이페이지 </a:t>
            </a:r>
            <a:r>
              <a:rPr lang="en-US" altLang="ko-KR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– </a:t>
            </a:r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내 정보</a:t>
            </a:r>
            <a:r>
              <a:rPr lang="en-US" altLang="ko-KR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주문내역 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96C4BEE4-B35A-4725-A48F-B2B477217A1F}"/>
              </a:ext>
            </a:extLst>
          </p:cNvPr>
          <p:cNvSpPr txBox="1"/>
          <p:nvPr/>
        </p:nvSpPr>
        <p:spPr>
          <a:xfrm>
            <a:off x="1475539" y="4745428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광고</a:t>
            </a:r>
            <a:endParaRPr lang="ko-KR" altLang="en-US" sz="2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xmlns="" id="{5E83A3CF-F6A3-4D57-A13E-AFFECF023ED7}"/>
              </a:ext>
            </a:extLst>
          </p:cNvPr>
          <p:cNvSpPr txBox="1"/>
          <p:nvPr/>
        </p:nvSpPr>
        <p:spPr>
          <a:xfrm>
            <a:off x="1475539" y="5725483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인기음식추천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F05A66A3-46E7-4708-90F5-6E899EB1C619}"/>
              </a:ext>
            </a:extLst>
          </p:cNvPr>
          <p:cNvSpPr txBox="1"/>
          <p:nvPr/>
        </p:nvSpPr>
        <p:spPr>
          <a:xfrm>
            <a:off x="7273853" y="1479948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식당 선택 후 장바구니에 메뉴 담기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xmlns="" id="{D402D478-A737-4E0A-94EF-F3AE0F86C2C0}"/>
              </a:ext>
            </a:extLst>
          </p:cNvPr>
          <p:cNvSpPr txBox="1"/>
          <p:nvPr/>
        </p:nvSpPr>
        <p:spPr>
          <a:xfrm>
            <a:off x="7273853" y="2513990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결제하기</a:t>
            </a:r>
            <a:endParaRPr lang="ko-KR" altLang="en-US" sz="2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9008E418-E7CC-4769-A1F9-5CEB259F56E1}"/>
              </a:ext>
            </a:extLst>
          </p:cNvPr>
          <p:cNvSpPr txBox="1"/>
          <p:nvPr/>
        </p:nvSpPr>
        <p:spPr>
          <a:xfrm>
            <a:off x="7273853" y="3548032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결제완료창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B998AA2A-A511-48FA-A25B-95E943F1920E}"/>
              </a:ext>
            </a:extLst>
          </p:cNvPr>
          <p:cNvSpPr txBox="1"/>
          <p:nvPr/>
        </p:nvSpPr>
        <p:spPr>
          <a:xfrm>
            <a:off x="7273853" y="4582074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관리자모드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F01C34A1-A1BC-44BD-A3F6-80C9A102D321}"/>
              </a:ext>
            </a:extLst>
          </p:cNvPr>
          <p:cNvSpPr txBox="1"/>
          <p:nvPr/>
        </p:nvSpPr>
        <p:spPr>
          <a:xfrm>
            <a:off x="7273853" y="5616118"/>
            <a:ext cx="4126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뒤로가기</a:t>
            </a:r>
            <a:endParaRPr lang="ko-KR" altLang="en-US" sz="2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68" name="그림 67">
            <a:extLst>
              <a:ext uri="{FF2B5EF4-FFF2-40B4-BE49-F238E27FC236}">
                <a16:creationId xmlns:a16="http://schemas.microsoft.com/office/drawing/2014/main" xmlns="" id="{510C3594-43BE-4837-B2F1-5E063A7012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09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xmlns="" id="{04BF968B-AE4A-4FE5-940A-5462206B9E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05" y="5736506"/>
            <a:ext cx="1002975" cy="1009734"/>
          </a:xfrm>
          <a:prstGeom prst="rect">
            <a:avLst/>
          </a:prstGeom>
        </p:spPr>
      </p:pic>
      <p:grpSp>
        <p:nvGrpSpPr>
          <p:cNvPr id="5" name="그룹 4"/>
          <p:cNvGrpSpPr/>
          <p:nvPr/>
        </p:nvGrpSpPr>
        <p:grpSpPr>
          <a:xfrm>
            <a:off x="48517" y="812594"/>
            <a:ext cx="7990839" cy="5638800"/>
            <a:chOff x="157481" y="557530"/>
            <a:chExt cx="9372599" cy="6188710"/>
          </a:xfrm>
        </p:grpSpPr>
        <p:pic>
          <p:nvPicPr>
            <p:cNvPr id="16386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481" y="557530"/>
              <a:ext cx="9372599" cy="6188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직사각형 3"/>
            <p:cNvSpPr/>
            <p:nvPr/>
          </p:nvSpPr>
          <p:spPr>
            <a:xfrm>
              <a:off x="1284879" y="2541772"/>
              <a:ext cx="7943266" cy="1987910"/>
            </a:xfrm>
            <a:prstGeom prst="rect">
              <a:avLst/>
            </a:prstGeom>
            <a:noFill/>
            <a:ln w="38100">
              <a:solidFill>
                <a:schemeClr val="accent6">
                  <a:lumMod val="75000"/>
                  <a:alpha val="50196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1284878" y="4603277"/>
              <a:ext cx="7943267" cy="1990563"/>
            </a:xfrm>
            <a:prstGeom prst="rect">
              <a:avLst/>
            </a:prstGeom>
            <a:noFill/>
            <a:ln w="38100">
              <a:solidFill>
                <a:schemeClr val="accent5">
                  <a:lumMod val="75000"/>
                  <a:alpha val="50196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06A9CF-3AB3-4E3E-9A9D-F1BF7D37EB09}"/>
              </a:ext>
            </a:extLst>
          </p:cNvPr>
          <p:cNvSpPr txBox="1"/>
          <p:nvPr/>
        </p:nvSpPr>
        <p:spPr>
          <a:xfrm>
            <a:off x="157481" y="81615"/>
            <a:ext cx="973887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Controller - </a:t>
            </a:r>
            <a:r>
              <a:rPr lang="ko-KR" altLang="en-US" sz="3600" dirty="0" err="1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마이페이지</a:t>
            </a:r>
            <a:endParaRPr lang="en-US" sz="3600" dirty="0">
              <a:solidFill>
                <a:srgbClr val="193C47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355" y="3526157"/>
            <a:ext cx="2962275" cy="3067050"/>
          </a:xfrm>
          <a:prstGeom prst="rect">
            <a:avLst/>
          </a:prstGeom>
          <a:noFill/>
          <a:ln w="38100">
            <a:solidFill>
              <a:srgbClr val="2E75B6">
                <a:alpha val="50196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391" name="Picture 7" descr="C:\Users\15u560\Desktop\12월 프로젝트\로고, ppt\개인 코드\1주문내역없ㅇ므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7222" y="229212"/>
            <a:ext cx="3233738" cy="2990839"/>
          </a:xfrm>
          <a:prstGeom prst="rect">
            <a:avLst/>
          </a:prstGeom>
          <a:noFill/>
          <a:ln w="38100">
            <a:solidFill>
              <a:schemeClr val="accent6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3640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2" y="492718"/>
            <a:ext cx="4292304" cy="693781"/>
            <a:chOff x="533402" y="492718"/>
            <a:chExt cx="2887976" cy="69378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– 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카테고리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Calibri" panose="020F0502020204030204" pitchFamily="34" charset="0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Calibri" panose="020F0502020204030204" pitchFamily="34" charset="0"/>
              </a:endParaRPr>
            </a:p>
          </p:txBody>
        </p:sp>
      </p:grp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51" y="1279620"/>
            <a:ext cx="4126732" cy="5168750"/>
          </a:xfrm>
          <a:prstGeom prst="rect">
            <a:avLst/>
          </a:prstGeom>
        </p:spPr>
      </p:pic>
      <p:pic>
        <p:nvPicPr>
          <p:cNvPr id="57" name="그림 5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35" y="1290190"/>
            <a:ext cx="4094854" cy="367814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3026" y="505800"/>
            <a:ext cx="2825895" cy="4597636"/>
          </a:xfrm>
          <a:prstGeom prst="rect">
            <a:avLst/>
          </a:prstGeom>
        </p:spPr>
      </p:pic>
      <p:cxnSp>
        <p:nvCxnSpPr>
          <p:cNvPr id="20" name="직선 화살표 연결선 19"/>
          <p:cNvCxnSpPr/>
          <p:nvPr/>
        </p:nvCxnSpPr>
        <p:spPr>
          <a:xfrm flipV="1">
            <a:off x="2848911" y="1374243"/>
            <a:ext cx="1976795" cy="67126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타원 25"/>
          <p:cNvSpPr/>
          <p:nvPr/>
        </p:nvSpPr>
        <p:spPr>
          <a:xfrm>
            <a:off x="6628072" y="1274334"/>
            <a:ext cx="248421" cy="1374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4720838" y="5317611"/>
            <a:ext cx="353074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1.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랜덤함수를 통해 광고가 출력 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2. VO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의 </a:t>
            </a:r>
            <a:r>
              <a:rPr lang="en-US" altLang="ko-KR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getSetMenu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메소드를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호출해서 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   Choice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 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카테고리값을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입력받음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4845" y="5203725"/>
            <a:ext cx="2848648" cy="611452"/>
          </a:xfrm>
          <a:prstGeom prst="rect">
            <a:avLst/>
          </a:prstGeom>
        </p:spPr>
      </p:pic>
      <p:cxnSp>
        <p:nvCxnSpPr>
          <p:cNvPr id="76" name="직선 화살표 연결선 75"/>
          <p:cNvCxnSpPr>
            <a:cxnSpLocks/>
            <a:stCxn id="28" idx="1"/>
          </p:cNvCxnSpPr>
          <p:nvPr/>
        </p:nvCxnSpPr>
        <p:spPr>
          <a:xfrm flipH="1">
            <a:off x="7819292" y="5509451"/>
            <a:ext cx="1265553" cy="533121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화살표 연결선 79"/>
          <p:cNvCxnSpPr>
            <a:cxnSpLocks/>
          </p:cNvCxnSpPr>
          <p:nvPr/>
        </p:nvCxnSpPr>
        <p:spPr>
          <a:xfrm>
            <a:off x="2915945" y="2426286"/>
            <a:ext cx="1804893" cy="2891325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그림 46">
            <a:extLst>
              <a:ext uri="{FF2B5EF4-FFF2-40B4-BE49-F238E27FC236}">
                <a16:creationId xmlns:a16="http://schemas.microsoft.com/office/drawing/2014/main" xmlns="" id="{29A4036C-4E7C-4777-855B-5EA622FE98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3664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1" y="492718"/>
            <a:ext cx="4096739" cy="693781"/>
            <a:chOff x="533402" y="492718"/>
            <a:chExt cx="2887976" cy="69378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- 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식당선택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97" y="2786226"/>
            <a:ext cx="3327571" cy="371494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97" y="1285953"/>
            <a:ext cx="3243862" cy="105302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484" y="1257748"/>
            <a:ext cx="4032457" cy="4565885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425" y="3297590"/>
            <a:ext cx="2731734" cy="2633978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254" y="201243"/>
            <a:ext cx="3382874" cy="2955788"/>
          </a:xfrm>
          <a:prstGeom prst="rect">
            <a:avLst/>
          </a:prstGeom>
        </p:spPr>
      </p:pic>
      <p:cxnSp>
        <p:nvCxnSpPr>
          <p:cNvPr id="41" name="직선 화살표 연결선 40"/>
          <p:cNvCxnSpPr/>
          <p:nvPr/>
        </p:nvCxnSpPr>
        <p:spPr>
          <a:xfrm flipV="1">
            <a:off x="1780195" y="2281199"/>
            <a:ext cx="0" cy="731591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 flipV="1">
            <a:off x="2969618" y="1395385"/>
            <a:ext cx="1279964" cy="18592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128014" y="6039502"/>
            <a:ext cx="4524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1. DAO</a:t>
            </a:r>
            <a:r>
              <a:rPr lang="ko-KR" altLang="en-US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의 </a:t>
            </a:r>
            <a:r>
              <a:rPr lang="en-US" altLang="ko-KR" sz="12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restList</a:t>
            </a:r>
            <a:r>
              <a:rPr lang="ko-KR" altLang="en-US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통해 입력된 카테고리의  식당정보를 받아옴</a:t>
            </a:r>
            <a:endParaRPr lang="en-US" altLang="ko-KR" sz="1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en-US" altLang="ko-KR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2. View</a:t>
            </a:r>
            <a:r>
              <a:rPr lang="ko-KR" altLang="en-US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단을 통해서 출력</a:t>
            </a:r>
            <a:endParaRPr lang="en-US" altLang="ko-KR" sz="1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en-US" altLang="ko-KR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3. </a:t>
            </a:r>
            <a:r>
              <a:rPr lang="ko-KR" altLang="en-US" sz="12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스위치문을</a:t>
            </a:r>
            <a:r>
              <a:rPr lang="ko-KR" altLang="en-US" sz="1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통해 식당선택 </a:t>
            </a: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xmlns="" id="{7A832A85-B8FF-4FC9-80A0-9B9A2087B5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1194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991" y="3879445"/>
            <a:ext cx="4984882" cy="2389756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991" y="558800"/>
            <a:ext cx="5499432" cy="324454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0" y="492718"/>
            <a:ext cx="4551298" cy="703982"/>
            <a:chOff x="533400" y="492718"/>
            <a:chExt cx="4551298" cy="70398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0" y="704257"/>
              <a:ext cx="4551298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- 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메뉴리스트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399" y="2743171"/>
            <a:ext cx="4019757" cy="260363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049" y="1314806"/>
            <a:ext cx="2832246" cy="104780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628" y="1167332"/>
            <a:ext cx="2556490" cy="3952986"/>
          </a:xfrm>
          <a:prstGeom prst="rect">
            <a:avLst/>
          </a:prstGeom>
          <a:effectLst>
            <a:outerShdw blurRad="1016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42" name="직선 화살표 연결선 41"/>
          <p:cNvCxnSpPr/>
          <p:nvPr/>
        </p:nvCxnSpPr>
        <p:spPr>
          <a:xfrm flipV="1">
            <a:off x="1700913" y="2181070"/>
            <a:ext cx="0" cy="731591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 flipV="1">
            <a:off x="2932619" y="803403"/>
            <a:ext cx="2791631" cy="749297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85419" y="5740109"/>
            <a:ext cx="69980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DAO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서 선택된 식당의 정보를 받아옴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View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통해 출력 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뒤로가면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장바구니를 초기화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시키기위해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clear()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메소드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사용 </a:t>
            </a:r>
          </a:p>
        </p:txBody>
      </p:sp>
      <p:sp>
        <p:nvSpPr>
          <p:cNvPr id="48" name="타원 47"/>
          <p:cNvSpPr/>
          <p:nvPr/>
        </p:nvSpPr>
        <p:spPr>
          <a:xfrm>
            <a:off x="533399" y="3467837"/>
            <a:ext cx="1247831" cy="2531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xmlns="" id="{FB7AA3F3-E1AC-4C1D-B099-9AAB858D31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4123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08183" y="492718"/>
            <a:ext cx="4143099" cy="703982"/>
            <a:chOff x="508184" y="492718"/>
            <a:chExt cx="2887976" cy="70398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08184" y="704257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– 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메뉴 선택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260316" y="5392025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5589774" y="5309973"/>
            <a:ext cx="69980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Basket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열에는 사용자가 고른 메뉴를 담고 </a:t>
            </a:r>
            <a:r>
              <a:rPr lang="en-US" altLang="ko-KR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sameFood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열에는 수를 입력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en-US" altLang="ko-KR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Cnt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통해서  처음 등록하는 메뉴는  무조건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basket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열에 입력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그다음부터는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basket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담긴메뉴면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 </a:t>
            </a:r>
            <a:r>
              <a:rPr lang="en-US" altLang="ko-KR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sameFood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열에서 숫자만 더해줌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새로 등록하는 메뉴면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basket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열에 입력해준다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xmlns="" id="{39C35086-2CCB-4AA8-9CE7-E405E4DB19F3}"/>
              </a:ext>
            </a:extLst>
          </p:cNvPr>
          <p:cNvGrpSpPr/>
          <p:nvPr/>
        </p:nvGrpSpPr>
        <p:grpSpPr>
          <a:xfrm>
            <a:off x="216129" y="456293"/>
            <a:ext cx="11732401" cy="5305654"/>
            <a:chOff x="223586" y="667085"/>
            <a:chExt cx="11732401" cy="5305654"/>
          </a:xfrm>
        </p:grpSpPr>
        <p:pic>
          <p:nvPicPr>
            <p:cNvPr id="1536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2738" y="2036639"/>
              <a:ext cx="3242638" cy="10998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586" y="1421577"/>
              <a:ext cx="5307028" cy="4551162"/>
            </a:xfrm>
            <a:prstGeom prst="rect">
              <a:avLst/>
            </a:prstGeom>
          </p:spPr>
        </p:pic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30092" y="667085"/>
              <a:ext cx="2825895" cy="4769095"/>
            </a:xfrm>
            <a:prstGeom prst="rect">
              <a:avLst/>
            </a:prstGeom>
          </p:spPr>
        </p:pic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2131" y="3942562"/>
              <a:ext cx="2514729" cy="1485976"/>
            </a:xfrm>
            <a:prstGeom prst="rect">
              <a:avLst/>
            </a:prstGeom>
          </p:spPr>
        </p:pic>
        <p:cxnSp>
          <p:nvCxnSpPr>
            <p:cNvPr id="40" name="직선 화살표 연결선 39"/>
            <p:cNvCxnSpPr/>
            <p:nvPr/>
          </p:nvCxnSpPr>
          <p:spPr>
            <a:xfrm flipV="1">
              <a:off x="2727343" y="2912339"/>
              <a:ext cx="3123760" cy="1866476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화살표 연결선 44"/>
            <p:cNvCxnSpPr/>
            <p:nvPr/>
          </p:nvCxnSpPr>
          <p:spPr>
            <a:xfrm>
              <a:off x="7399941" y="3040705"/>
              <a:ext cx="126681" cy="1060881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그림 43">
            <a:extLst>
              <a:ext uri="{FF2B5EF4-FFF2-40B4-BE49-F238E27FC236}">
                <a16:creationId xmlns:a16="http://schemas.microsoft.com/office/drawing/2014/main" xmlns="" id="{84F30873-5E59-408C-B623-FB8F966A2F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8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2" y="492718"/>
            <a:ext cx="2887976" cy="693781"/>
            <a:chOff x="533402" y="492718"/>
            <a:chExt cx="2887976" cy="69378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64" y="1639055"/>
            <a:ext cx="3828232" cy="199133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0830" y="2737589"/>
            <a:ext cx="2677750" cy="377754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963" y="601046"/>
            <a:ext cx="4201298" cy="191890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84" y="3913980"/>
            <a:ext cx="3614018" cy="13464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4775" y="1560497"/>
            <a:ext cx="3165910" cy="3458222"/>
          </a:xfrm>
          <a:prstGeom prst="rect">
            <a:avLst/>
          </a:prstGeom>
        </p:spPr>
      </p:pic>
      <p:cxnSp>
        <p:nvCxnSpPr>
          <p:cNvPr id="41" name="직선 화살표 연결선 40"/>
          <p:cNvCxnSpPr/>
          <p:nvPr/>
        </p:nvCxnSpPr>
        <p:spPr>
          <a:xfrm>
            <a:off x="1094108" y="2338973"/>
            <a:ext cx="232565" cy="1670777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화살표 연결선 43"/>
          <p:cNvCxnSpPr/>
          <p:nvPr/>
        </p:nvCxnSpPr>
        <p:spPr>
          <a:xfrm flipV="1">
            <a:off x="3347959" y="2241281"/>
            <a:ext cx="1112768" cy="186616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562618" y="5776465"/>
            <a:ext cx="69980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고른 메뉴와 개수 총 금액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달팁을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View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단을 통해서 출력 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로그인한 유저 아이디를 받아서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DAO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서 유저의 정보를  </a:t>
            </a:r>
            <a:r>
              <a:rPr lang="en-US" altLang="ko-KR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infoUser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미리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받아옴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64" y="1255211"/>
            <a:ext cx="3084951" cy="230220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xmlns="" id="{E45019BD-13DC-44C9-9F0C-FE387A4666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098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2" y="492718"/>
            <a:ext cx="3525900" cy="693781"/>
            <a:chOff x="533402" y="492718"/>
            <a:chExt cx="2887976" cy="69378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- </a:t>
              </a:r>
              <a:r>
                <a:rPr lang="ko-KR" altLang="en-US" sz="3200" b="1" dirty="0" err="1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결제창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838" y="1787349"/>
            <a:ext cx="3886400" cy="3937202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7725" y="793897"/>
            <a:ext cx="3168813" cy="4591286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565" y="1589303"/>
            <a:ext cx="3892564" cy="319135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4001358" y="5989710"/>
            <a:ext cx="69980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받아온 유저정보와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총금액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배달팁을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View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단에 출력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스위치문을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통해서 결제 방법을 선택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cxnSp>
        <p:nvCxnSpPr>
          <p:cNvPr id="40" name="직선 화살표 연결선 39"/>
          <p:cNvCxnSpPr/>
          <p:nvPr/>
        </p:nvCxnSpPr>
        <p:spPr>
          <a:xfrm flipV="1">
            <a:off x="1952172" y="1838918"/>
            <a:ext cx="2584633" cy="30172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>
            <a:cxnSpLocks/>
          </p:cNvCxnSpPr>
          <p:nvPr/>
        </p:nvCxnSpPr>
        <p:spPr>
          <a:xfrm flipV="1">
            <a:off x="8036293" y="1589303"/>
            <a:ext cx="791184" cy="29016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그림 43">
            <a:extLst>
              <a:ext uri="{FF2B5EF4-FFF2-40B4-BE49-F238E27FC236}">
                <a16:creationId xmlns:a16="http://schemas.microsoft.com/office/drawing/2014/main" xmlns="" id="{07A7B0E8-8CB4-44C6-9E7B-A6EF654660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3819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31350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533401" y="492718"/>
            <a:ext cx="4942427" cy="693781"/>
            <a:chOff x="533402" y="492718"/>
            <a:chExt cx="2887976" cy="69378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– 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결제 </a:t>
              </a:r>
              <a:r>
                <a:rPr lang="ko-KR" altLang="en-US" sz="3200" b="1" dirty="0" err="1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정보넘기기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203" y="1275805"/>
            <a:ext cx="3223342" cy="2718972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203" y="4143381"/>
            <a:ext cx="4407917" cy="203731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509" y="728295"/>
            <a:ext cx="2032022" cy="283859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476190" y="6245151"/>
            <a:ext cx="105917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DAO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통해서 마지막 주문번호를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받아온다음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1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을 더해서 새로운 주문의 주문번호로 사용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342900" indent="-342900">
              <a:buAutoNum type="arabicPeriod"/>
            </a:pP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DAO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사용해 주문정보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(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주문번호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사용자아이디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식당번호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총금액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)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와 상세주문번호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(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주문번호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음식번호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sz="1400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음식명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)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</a:t>
            </a:r>
            <a:r>
              <a:rPr lang="en-US" altLang="ko-KR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DB</a:t>
            </a:r>
            <a:r>
              <a:rPr lang="ko-KR" altLang="en-US" sz="14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로 넘겨줌 </a:t>
            </a:r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endParaRPr lang="en-US" altLang="ko-KR" sz="14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065" y="612408"/>
            <a:ext cx="2822104" cy="3144768"/>
          </a:xfrm>
          <a:prstGeom prst="rect">
            <a:avLst/>
          </a:prstGeom>
        </p:spPr>
      </p:pic>
      <p:cxnSp>
        <p:nvCxnSpPr>
          <p:cNvPr id="40" name="직선 화살표 연결선 39"/>
          <p:cNvCxnSpPr/>
          <p:nvPr/>
        </p:nvCxnSpPr>
        <p:spPr>
          <a:xfrm flipV="1">
            <a:off x="2609738" y="1138928"/>
            <a:ext cx="3341790" cy="185357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9100" y="3886807"/>
            <a:ext cx="5711748" cy="2134284"/>
          </a:xfrm>
          <a:prstGeom prst="rect">
            <a:avLst/>
          </a:prstGeom>
        </p:spPr>
      </p:pic>
      <p:cxnSp>
        <p:nvCxnSpPr>
          <p:cNvPr id="42" name="직선 화살표 연결선 41"/>
          <p:cNvCxnSpPr/>
          <p:nvPr/>
        </p:nvCxnSpPr>
        <p:spPr>
          <a:xfrm>
            <a:off x="3588888" y="3197759"/>
            <a:ext cx="2362640" cy="157509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/>
          <p:nvPr/>
        </p:nvCxnSpPr>
        <p:spPr>
          <a:xfrm flipH="1">
            <a:off x="1553951" y="3323587"/>
            <a:ext cx="198210" cy="81979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그림 44">
            <a:extLst>
              <a:ext uri="{FF2B5EF4-FFF2-40B4-BE49-F238E27FC236}">
                <a16:creationId xmlns:a16="http://schemas.microsoft.com/office/drawing/2014/main" xmlns="" id="{513EFF33-C479-481E-B070-43622BD720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3310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904BE55C-987C-4EC0-88D1-6E418939C461}"/>
              </a:ext>
            </a:extLst>
          </p:cNvPr>
          <p:cNvGrpSpPr/>
          <p:nvPr/>
        </p:nvGrpSpPr>
        <p:grpSpPr>
          <a:xfrm>
            <a:off x="533402" y="492718"/>
            <a:ext cx="3223639" cy="722285"/>
            <a:chOff x="533402" y="492718"/>
            <a:chExt cx="3223639" cy="72228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AB16553A-CF11-49FB-ADD4-064B47EAACA3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5A06A9CF-3AB3-4E3E-9A9D-F1BF7D37EB09}"/>
                </a:ext>
              </a:extLst>
            </p:cNvPr>
            <p:cNvSpPr txBox="1"/>
            <p:nvPr/>
          </p:nvSpPr>
          <p:spPr>
            <a:xfrm>
              <a:off x="533402" y="661005"/>
              <a:ext cx="3223639" cy="55399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ko-KR" altLang="en-US" sz="3600" dirty="0">
                  <a:solidFill>
                    <a:srgbClr val="193C47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어플리케이션</a:t>
              </a:r>
              <a:r>
                <a:rPr lang="en-US" altLang="ko-KR" sz="3600" dirty="0">
                  <a:solidFill>
                    <a:srgbClr val="193C47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</a:t>
              </a:r>
              <a:r>
                <a:rPr lang="ko-KR" altLang="en-US" sz="3600" dirty="0">
                  <a:solidFill>
                    <a:srgbClr val="193C47"/>
                  </a:solidFill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구조</a:t>
              </a:r>
              <a:endPara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9CF5F7E1-B283-4C36-A315-0C3EF4A4A2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27" t="27194" r="42500" b="17836"/>
          <a:stretch/>
        </p:blipFill>
        <p:spPr>
          <a:xfrm>
            <a:off x="524633" y="1295213"/>
            <a:ext cx="9609775" cy="5318125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8528E6BF-039B-40A0-83F3-061F667D2490}"/>
              </a:ext>
            </a:extLst>
          </p:cNvPr>
          <p:cNvSpPr/>
          <p:nvPr/>
        </p:nvSpPr>
        <p:spPr>
          <a:xfrm>
            <a:off x="7160575" y="0"/>
            <a:ext cx="5031426" cy="6858000"/>
          </a:xfrm>
          <a:custGeom>
            <a:avLst/>
            <a:gdLst>
              <a:gd name="connsiteX0" fmla="*/ 634 w 4115097"/>
              <a:gd name="connsiteY0" fmla="*/ 0 h 6858000"/>
              <a:gd name="connsiteX1" fmla="*/ 4115097 w 4115097"/>
              <a:gd name="connsiteY1" fmla="*/ 0 h 6858000"/>
              <a:gd name="connsiteX2" fmla="*/ 4115097 w 4115097"/>
              <a:gd name="connsiteY2" fmla="*/ 6858000 h 6858000"/>
              <a:gd name="connsiteX3" fmla="*/ 4112397 w 4115097"/>
              <a:gd name="connsiteY3" fmla="*/ 6858000 h 6858000"/>
              <a:gd name="connsiteX4" fmla="*/ 4056649 w 4115097"/>
              <a:gd name="connsiteY4" fmla="*/ 6811547 h 6858000"/>
              <a:gd name="connsiteX5" fmla="*/ 3632497 w 4115097"/>
              <a:gd name="connsiteY5" fmla="*/ 6121400 h 6858000"/>
              <a:gd name="connsiteX6" fmla="*/ 3048297 w 4115097"/>
              <a:gd name="connsiteY6" fmla="*/ 2540000 h 6858000"/>
              <a:gd name="connsiteX7" fmla="*/ 2260897 w 4115097"/>
              <a:gd name="connsiteY7" fmla="*/ 1054100 h 6858000"/>
              <a:gd name="connsiteX8" fmla="*/ 686097 w 4115097"/>
              <a:gd name="connsiteY8" fmla="*/ 736600 h 6858000"/>
              <a:gd name="connsiteX9" fmla="*/ 0 w 4115097"/>
              <a:gd name="connsiteY9" fmla="*/ 272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15097" h="6858000">
                <a:moveTo>
                  <a:pt x="634" y="0"/>
                </a:moveTo>
                <a:lnTo>
                  <a:pt x="4115097" y="0"/>
                </a:lnTo>
                <a:lnTo>
                  <a:pt x="4115097" y="6858000"/>
                </a:lnTo>
                <a:lnTo>
                  <a:pt x="4112397" y="6858000"/>
                </a:lnTo>
                <a:lnTo>
                  <a:pt x="4056649" y="6811547"/>
                </a:lnTo>
                <a:cubicBezTo>
                  <a:pt x="3899718" y="6669617"/>
                  <a:pt x="3743622" y="6447367"/>
                  <a:pt x="3632497" y="6121400"/>
                </a:cubicBezTo>
                <a:cubicBezTo>
                  <a:pt x="3378497" y="5376333"/>
                  <a:pt x="3276897" y="3384550"/>
                  <a:pt x="3048297" y="2540000"/>
                </a:cubicBezTo>
                <a:cubicBezTo>
                  <a:pt x="2819697" y="1695450"/>
                  <a:pt x="2654597" y="1354667"/>
                  <a:pt x="2260897" y="1054100"/>
                </a:cubicBezTo>
                <a:cubicBezTo>
                  <a:pt x="1867197" y="753533"/>
                  <a:pt x="1043814" y="948267"/>
                  <a:pt x="686097" y="736600"/>
                </a:cubicBezTo>
                <a:cubicBezTo>
                  <a:pt x="417809" y="577850"/>
                  <a:pt x="25697" y="286941"/>
                  <a:pt x="0" y="27285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xmlns="" id="{2341D9E0-25D5-49C0-8145-9793DD5313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1656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A27ABDB-8549-4CFC-8E4E-B98508D1A959}"/>
              </a:ext>
            </a:extLst>
          </p:cNvPr>
          <p:cNvSpPr/>
          <p:nvPr/>
        </p:nvSpPr>
        <p:spPr>
          <a:xfrm rot="10800000">
            <a:off x="7946559" y="0"/>
            <a:ext cx="4260647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419426" y="289599"/>
            <a:ext cx="7689969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 (</a:t>
              </a:r>
              <a:r>
                <a:rPr lang="ko-KR" altLang="en-US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: </a:t>
              </a:r>
              <a:r>
                <a:rPr lang="ko-KR" altLang="en-US" sz="32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" panose="020B0502040204020203" pitchFamily="34" charset="0"/>
                </a:rPr>
                <a:t>모든 회원조회</a:t>
              </a:r>
              <a:endParaRPr lang="en-US" sz="320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ACE311CC-2A7E-4437-A2BA-54D6597BDD16}"/>
              </a:ext>
            </a:extLst>
          </p:cNvPr>
          <p:cNvSpPr/>
          <p:nvPr/>
        </p:nvSpPr>
        <p:spPr>
          <a:xfrm>
            <a:off x="3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Calibri" panose="020F050202020403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4895EED9-E563-4E6A-8B3E-5657FF093056}"/>
              </a:ext>
            </a:extLst>
          </p:cNvPr>
          <p:cNvGrpSpPr/>
          <p:nvPr/>
        </p:nvGrpSpPr>
        <p:grpSpPr>
          <a:xfrm>
            <a:off x="8182241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xmlns="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xmlns="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xmlns="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xmlns="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xmlns="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xmlns="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xmlns="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B570ED0F-D1CA-40C2-948D-6A83A4207FA7}"/>
              </a:ext>
            </a:extLst>
          </p:cNvPr>
          <p:cNvGrpSpPr/>
          <p:nvPr/>
        </p:nvGrpSpPr>
        <p:grpSpPr>
          <a:xfrm>
            <a:off x="8188823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xmlns="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xmlns="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xmlns="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xmlns="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xmlns="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xmlns="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xmlns="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30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xmlns="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xmlns="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xmlns="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4" y="2224675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8ED9B3ED-7120-4603-8CCD-E00D81660B0D}"/>
              </a:ext>
            </a:extLst>
          </p:cNvPr>
          <p:cNvGrpSpPr/>
          <p:nvPr/>
        </p:nvGrpSpPr>
        <p:grpSpPr>
          <a:xfrm>
            <a:off x="10045634" y="558801"/>
            <a:ext cx="1165215" cy="931489"/>
            <a:chOff x="10053740" y="592613"/>
            <a:chExt cx="1072349" cy="857252"/>
          </a:xfrm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xmlns="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Calibri" panose="020F0502020204030204" pitchFamily="34" charset="0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xmlns="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Calibri" panose="020F0502020204030204" pitchFamily="34" charset="0"/>
              </a:endParaRPr>
            </a:p>
          </p:txBody>
        </p:sp>
      </p:grpSp>
      <p:pic>
        <p:nvPicPr>
          <p:cNvPr id="1026" name="Picture 2" descr="C:\Users\tkddn\OneDrive\Desktop\1.조회DA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216" y="1864944"/>
            <a:ext cx="4296709" cy="3726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tkddn\OneDrive\Desktop\1.조회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44" y="1910766"/>
            <a:ext cx="4270371" cy="3894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직사각형 45"/>
          <p:cNvSpPr/>
          <p:nvPr/>
        </p:nvSpPr>
        <p:spPr>
          <a:xfrm>
            <a:off x="8888054" y="3382719"/>
            <a:ext cx="651141" cy="79694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cxnSp>
        <p:nvCxnSpPr>
          <p:cNvPr id="48" name="직선 화살표 연결선 47"/>
          <p:cNvCxnSpPr/>
          <p:nvPr/>
        </p:nvCxnSpPr>
        <p:spPr>
          <a:xfrm>
            <a:off x="9063073" y="3249517"/>
            <a:ext cx="882865" cy="2458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화살표 연결선 48"/>
          <p:cNvCxnSpPr/>
          <p:nvPr/>
        </p:nvCxnSpPr>
        <p:spPr>
          <a:xfrm>
            <a:off x="9539195" y="4179662"/>
            <a:ext cx="670255" cy="48219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>
          <a:xfrm>
            <a:off x="2543605" y="4077073"/>
            <a:ext cx="576064" cy="124829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8381049" y="5329930"/>
            <a:ext cx="734201" cy="18730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cxnSp>
        <p:nvCxnSpPr>
          <p:cNvPr id="61" name="직선 화살표 연결선 60"/>
          <p:cNvCxnSpPr>
            <a:stCxn id="68" idx="1"/>
          </p:cNvCxnSpPr>
          <p:nvPr/>
        </p:nvCxnSpPr>
        <p:spPr>
          <a:xfrm flipH="1">
            <a:off x="8440499" y="2372312"/>
            <a:ext cx="2168003" cy="60931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/>
          <p:nvPr/>
        </p:nvCxnSpPr>
        <p:spPr>
          <a:xfrm>
            <a:off x="9063072" y="5313987"/>
            <a:ext cx="331651" cy="14436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직사각형 67"/>
          <p:cNvSpPr/>
          <p:nvPr/>
        </p:nvSpPr>
        <p:spPr>
          <a:xfrm>
            <a:off x="10608501" y="2025103"/>
            <a:ext cx="818680" cy="6944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679797" y="2225507"/>
            <a:ext cx="6526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FF0000"/>
                </a:solidFill>
              </a:rPr>
              <a:t>DB</a:t>
            </a:r>
            <a:endParaRPr lang="ko-KR" altLang="en-US" dirty="0">
              <a:solidFill>
                <a:srgbClr val="FF0000"/>
              </a:solidFill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8172992" y="3140968"/>
            <a:ext cx="195545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/>
          <p:nvPr/>
        </p:nvCxnSpPr>
        <p:spPr>
          <a:xfrm>
            <a:off x="8468713" y="2167609"/>
            <a:ext cx="78102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/>
          <p:cNvCxnSpPr/>
          <p:nvPr/>
        </p:nvCxnSpPr>
        <p:spPr>
          <a:xfrm>
            <a:off x="482504" y="2110544"/>
            <a:ext cx="176994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/>
          <p:nvPr/>
        </p:nvCxnSpPr>
        <p:spPr>
          <a:xfrm>
            <a:off x="860291" y="2306980"/>
            <a:ext cx="1755323" cy="147421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/>
          <p:cNvCxnSpPr/>
          <p:nvPr/>
        </p:nvCxnSpPr>
        <p:spPr>
          <a:xfrm>
            <a:off x="2543605" y="3907904"/>
            <a:ext cx="86409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/>
          <p:nvPr/>
        </p:nvCxnSpPr>
        <p:spPr>
          <a:xfrm>
            <a:off x="1628376" y="3858015"/>
            <a:ext cx="1248139" cy="32164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C:\Users\tkddn\OneDrive\Desktop\V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642" y="2022382"/>
            <a:ext cx="2566953" cy="141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C:\Users\tkddn\OneDrive\Desktop\VO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642" y="3429001"/>
            <a:ext cx="2558028" cy="153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직선 화살표 연결선 31"/>
          <p:cNvCxnSpPr/>
          <p:nvPr/>
        </p:nvCxnSpPr>
        <p:spPr>
          <a:xfrm flipV="1">
            <a:off x="1993438" y="2110544"/>
            <a:ext cx="6338983" cy="1141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/>
          <p:nvPr/>
        </p:nvCxnSpPr>
        <p:spPr>
          <a:xfrm flipH="1" flipV="1">
            <a:off x="6017117" y="3933056"/>
            <a:ext cx="3151227" cy="52600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화살표 연결선 5"/>
          <p:cNvCxnSpPr/>
          <p:nvPr/>
        </p:nvCxnSpPr>
        <p:spPr>
          <a:xfrm flipH="1" flipV="1">
            <a:off x="5423567" y="2519950"/>
            <a:ext cx="148701" cy="14988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/>
          <p:nvPr/>
        </p:nvCxnSpPr>
        <p:spPr>
          <a:xfrm flipH="1">
            <a:off x="3503713" y="2519949"/>
            <a:ext cx="1728193" cy="165971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직선 화살표 연결선 75"/>
          <p:cNvCxnSpPr>
            <a:stCxn id="37" idx="1"/>
          </p:cNvCxnSpPr>
          <p:nvPr/>
        </p:nvCxnSpPr>
        <p:spPr>
          <a:xfrm flipH="1" flipV="1">
            <a:off x="1007436" y="2306980"/>
            <a:ext cx="7595080" cy="358332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8602517" y="5705634"/>
            <a:ext cx="2608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Return</a:t>
            </a:r>
            <a:r>
              <a:rPr lang="en-US" altLang="ko-KR" dirty="0"/>
              <a:t> </a:t>
            </a:r>
            <a:r>
              <a:rPr lang="en-US" altLang="ko-KR" sz="1000" dirty="0"/>
              <a:t>list;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676501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714A87C3-3EFB-4722-BF0D-17138DEB6B2B}"/>
              </a:ext>
            </a:extLst>
          </p:cNvPr>
          <p:cNvGrpSpPr/>
          <p:nvPr/>
        </p:nvGrpSpPr>
        <p:grpSpPr>
          <a:xfrm>
            <a:off x="0" y="4933985"/>
            <a:ext cx="12192000" cy="1924015"/>
            <a:chOff x="0" y="4948862"/>
            <a:chExt cx="12192000" cy="1924015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F9C80C8E-5A49-482B-8FB1-2FEACFCA5ACA}"/>
                </a:ext>
              </a:extLst>
            </p:cNvPr>
            <p:cNvSpPr/>
            <p:nvPr/>
          </p:nvSpPr>
          <p:spPr>
            <a:xfrm>
              <a:off x="0" y="5578730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73714BC-1D6D-47E8-BDBC-A4EE1D7C9B24}"/>
              </a:ext>
            </a:extLst>
          </p:cNvPr>
          <p:cNvSpPr/>
          <p:nvPr/>
        </p:nvSpPr>
        <p:spPr>
          <a:xfrm>
            <a:off x="212712" y="179005"/>
            <a:ext cx="343307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회원가입 </a:t>
            </a:r>
            <a:r>
              <a:rPr lang="en-US" altLang="ko-KR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-</a:t>
            </a:r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유효성검사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xmlns="" id="{1E3EDF21-4023-4082-AEC1-0A0B28FB5D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xmlns="" id="{1329BBD6-4F6A-4EA3-9D86-D4DE8B169F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2" t="12890" r="69534" b="57463"/>
          <a:stretch/>
        </p:blipFill>
        <p:spPr>
          <a:xfrm>
            <a:off x="212713" y="768485"/>
            <a:ext cx="9898954" cy="5910510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63D55C55-B387-4186-9061-93DE9FF82530}"/>
              </a:ext>
            </a:extLst>
          </p:cNvPr>
          <p:cNvSpPr/>
          <p:nvPr/>
        </p:nvSpPr>
        <p:spPr>
          <a:xfrm>
            <a:off x="1348154" y="2133600"/>
            <a:ext cx="8370277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19F6B4D6-E219-4FAB-B010-AF238493A8EA}"/>
              </a:ext>
            </a:extLst>
          </p:cNvPr>
          <p:cNvSpPr/>
          <p:nvPr/>
        </p:nvSpPr>
        <p:spPr>
          <a:xfrm>
            <a:off x="715108" y="4636093"/>
            <a:ext cx="2543907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BB427A2-7DCF-4952-839A-C3FFC84CFD79}"/>
              </a:ext>
            </a:extLst>
          </p:cNvPr>
          <p:cNvSpPr txBox="1"/>
          <p:nvPr/>
        </p:nvSpPr>
        <p:spPr>
          <a:xfrm>
            <a:off x="5558971" y="3077029"/>
            <a:ext cx="5979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43063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417150" y="293888"/>
            <a:ext cx="4552593" cy="1186223"/>
            <a:chOff x="527381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27381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특정회원 조회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4" name="Freeform: Shape 16">
            <a:extLst>
              <a:ext uri="{FF2B5EF4-FFF2-40B4-BE49-F238E27FC236}">
                <a16:creationId xmlns:a16="http://schemas.microsoft.com/office/drawing/2014/main" xmlns="" id="{D5AB7A23-1653-423C-A07B-0EE36E4E7283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5" name="Freeform: Shape 14">
            <a:extLst>
              <a:ext uri="{FF2B5EF4-FFF2-40B4-BE49-F238E27FC236}">
                <a16:creationId xmlns:a16="http://schemas.microsoft.com/office/drawing/2014/main" xmlns="" id="{2866F761-D120-4C42-8844-91E46A786AC3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6" name="Group 184">
            <a:extLst>
              <a:ext uri="{FF2B5EF4-FFF2-40B4-BE49-F238E27FC236}">
                <a16:creationId xmlns:a16="http://schemas.microsoft.com/office/drawing/2014/main" xmlns="" id="{14D481D5-C6FD-4C25-99C1-2F131FFBC156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7" name="Freeform: Shape 182">
              <a:extLst>
                <a:ext uri="{FF2B5EF4-FFF2-40B4-BE49-F238E27FC236}">
                  <a16:creationId xmlns:a16="http://schemas.microsoft.com/office/drawing/2014/main" xmlns="" id="{6370EC6D-32C7-40B6-9C86-582C6B0F271D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8" name="Freeform: Shape 183">
              <a:extLst>
                <a:ext uri="{FF2B5EF4-FFF2-40B4-BE49-F238E27FC236}">
                  <a16:creationId xmlns:a16="http://schemas.microsoft.com/office/drawing/2014/main" xmlns="" id="{74947AEC-323C-4586-8E1C-4248C3CE9012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DEE2E6CB-8755-4F23-874F-C06681C3F4BA}"/>
              </a:ext>
            </a:extLst>
          </p:cNvPr>
          <p:cNvGrpSpPr/>
          <p:nvPr/>
        </p:nvGrpSpPr>
        <p:grpSpPr>
          <a:xfrm>
            <a:off x="426640" y="1395047"/>
            <a:ext cx="10397275" cy="5332898"/>
            <a:chOff x="1901251" y="1772816"/>
            <a:chExt cx="8044921" cy="3988048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37" name="Picture 4" descr="C:\Users\tkddn\OneDrive\Desktop\1.특정회원(회원)con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4052" y="1772816"/>
              <a:ext cx="3571512" cy="2376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5" descr="C:\Users\tkddn\OneDrive\Desktop\1.특정회원(주문정보)CON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0459" y="1772816"/>
              <a:ext cx="4345713" cy="2376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C:\Users\tkddn\OneDrive\Desktop\4234234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1251" y="4457526"/>
              <a:ext cx="8028690" cy="1303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직선 연결선 2"/>
            <p:cNvCxnSpPr/>
            <p:nvPr/>
          </p:nvCxnSpPr>
          <p:spPr>
            <a:xfrm>
              <a:off x="6096000" y="5373216"/>
              <a:ext cx="168759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직선 연결선 5"/>
            <p:cNvCxnSpPr/>
            <p:nvPr/>
          </p:nvCxnSpPr>
          <p:spPr>
            <a:xfrm>
              <a:off x="2711624" y="5724551"/>
              <a:ext cx="1418456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직선 화살표 연결선 10"/>
            <p:cNvCxnSpPr/>
            <p:nvPr/>
          </p:nvCxnSpPr>
          <p:spPr>
            <a:xfrm flipV="1">
              <a:off x="4179742" y="5373217"/>
              <a:ext cx="3140394" cy="283505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직선 연결선 15"/>
            <p:cNvCxnSpPr/>
            <p:nvPr/>
          </p:nvCxnSpPr>
          <p:spPr>
            <a:xfrm>
              <a:off x="2473997" y="2212201"/>
              <a:ext cx="9144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2504728" y="2730624"/>
              <a:ext cx="1705745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0" name="그림 49">
            <a:extLst>
              <a:ext uri="{FF2B5EF4-FFF2-40B4-BE49-F238E27FC236}">
                <a16:creationId xmlns:a16="http://schemas.microsoft.com/office/drawing/2014/main" xmlns="" id="{BEC51B63-6B07-4AA2-94FF-2216F76C75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76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302109" y="269188"/>
            <a:ext cx="4315965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회원정보 수정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6" name="Freeform: Shape 16">
            <a:extLst>
              <a:ext uri="{FF2B5EF4-FFF2-40B4-BE49-F238E27FC236}">
                <a16:creationId xmlns:a16="http://schemas.microsoft.com/office/drawing/2014/main" xmlns="" id="{3889E255-B8A9-4D4D-B74E-E88DFA681889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7" name="Freeform: Shape 14">
            <a:extLst>
              <a:ext uri="{FF2B5EF4-FFF2-40B4-BE49-F238E27FC236}">
                <a16:creationId xmlns:a16="http://schemas.microsoft.com/office/drawing/2014/main" xmlns="" id="{30D519D9-41A9-457C-89E2-C3283FC4E5FA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8" name="Group 184">
            <a:extLst>
              <a:ext uri="{FF2B5EF4-FFF2-40B4-BE49-F238E27FC236}">
                <a16:creationId xmlns:a16="http://schemas.microsoft.com/office/drawing/2014/main" xmlns="" id="{119AC963-E92A-4D54-A524-5B6586D955D2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9" name="Freeform: Shape 182">
              <a:extLst>
                <a:ext uri="{FF2B5EF4-FFF2-40B4-BE49-F238E27FC236}">
                  <a16:creationId xmlns:a16="http://schemas.microsoft.com/office/drawing/2014/main" xmlns="" id="{D8880E47-1177-4B48-81DD-2EBD69D75012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53" name="Freeform: Shape 183">
              <a:extLst>
                <a:ext uri="{FF2B5EF4-FFF2-40B4-BE49-F238E27FC236}">
                  <a16:creationId xmlns:a16="http://schemas.microsoft.com/office/drawing/2014/main" xmlns="" id="{B479B9B7-B043-439C-A50F-3B0E269225F2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54" name="그림 53">
            <a:extLst>
              <a:ext uri="{FF2B5EF4-FFF2-40B4-BE49-F238E27FC236}">
                <a16:creationId xmlns:a16="http://schemas.microsoft.com/office/drawing/2014/main" xmlns="" id="{D8006E42-BA13-4093-9B81-CAE6FEB891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96DB4AED-1403-4CF9-A3C5-DAEFDC2AEED6}"/>
              </a:ext>
            </a:extLst>
          </p:cNvPr>
          <p:cNvGrpSpPr/>
          <p:nvPr/>
        </p:nvGrpSpPr>
        <p:grpSpPr>
          <a:xfrm>
            <a:off x="640051" y="1638809"/>
            <a:ext cx="10192072" cy="4950003"/>
            <a:chOff x="1847528" y="2144171"/>
            <a:chExt cx="8545515" cy="3580380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3074" name="Picture 2" descr="C:\Users\tkddn\OneDrive\Desktop\2.회원정보수정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528" y="2144171"/>
              <a:ext cx="3834905" cy="351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5" name="Picture 3" descr="C:\Users\tkddn\OneDrive\Desktop\2.회원정보수정DAO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5180" y="2146867"/>
              <a:ext cx="4487863" cy="351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직사각형 37"/>
            <p:cNvSpPr/>
            <p:nvPr/>
          </p:nvSpPr>
          <p:spPr>
            <a:xfrm>
              <a:off x="7623810" y="3455387"/>
              <a:ext cx="291882" cy="1374812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2583593" y="4797153"/>
              <a:ext cx="404538" cy="695046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2583591" y="5498001"/>
              <a:ext cx="1498442" cy="22655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cxnSp>
          <p:nvCxnSpPr>
            <p:cNvPr id="4" name="직선 화살표 연결선 3"/>
            <p:cNvCxnSpPr/>
            <p:nvPr/>
          </p:nvCxnSpPr>
          <p:spPr>
            <a:xfrm>
              <a:off x="2988132" y="5205203"/>
              <a:ext cx="875621" cy="286996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화살표 연결선 50"/>
            <p:cNvCxnSpPr/>
            <p:nvPr/>
          </p:nvCxnSpPr>
          <p:spPr>
            <a:xfrm flipH="1">
              <a:off x="8112224" y="2426287"/>
              <a:ext cx="265134" cy="1140598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화살표 연결선 51"/>
            <p:cNvCxnSpPr/>
            <p:nvPr/>
          </p:nvCxnSpPr>
          <p:spPr>
            <a:xfrm flipV="1">
              <a:off x="3425942" y="2465975"/>
              <a:ext cx="3894195" cy="3035474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직선 연결선 20"/>
            <p:cNvCxnSpPr/>
            <p:nvPr/>
          </p:nvCxnSpPr>
          <p:spPr>
            <a:xfrm>
              <a:off x="6816080" y="2471192"/>
              <a:ext cx="1728192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20436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421255" y="253452"/>
            <a:ext cx="5548461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회원 별 구매액 순위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1" name="Freeform: Shape 16">
            <a:extLst>
              <a:ext uri="{FF2B5EF4-FFF2-40B4-BE49-F238E27FC236}">
                <a16:creationId xmlns:a16="http://schemas.microsoft.com/office/drawing/2014/main" xmlns="" id="{6195CE32-AE71-459E-915A-EA06301B119A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3" name="Freeform: Shape 14">
            <a:extLst>
              <a:ext uri="{FF2B5EF4-FFF2-40B4-BE49-F238E27FC236}">
                <a16:creationId xmlns:a16="http://schemas.microsoft.com/office/drawing/2014/main" xmlns="" id="{D2E19F12-A4A2-472A-9994-3585527320B7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4" name="Group 184">
            <a:extLst>
              <a:ext uri="{FF2B5EF4-FFF2-40B4-BE49-F238E27FC236}">
                <a16:creationId xmlns:a16="http://schemas.microsoft.com/office/drawing/2014/main" xmlns="" id="{F09CF8A4-E81E-4D27-A0A7-BE6B63F02B22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5" name="Freeform: Shape 182">
              <a:extLst>
                <a:ext uri="{FF2B5EF4-FFF2-40B4-BE49-F238E27FC236}">
                  <a16:creationId xmlns:a16="http://schemas.microsoft.com/office/drawing/2014/main" xmlns="" id="{C6C7301F-1659-4526-A46D-1EE26C80CDFC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6" name="Freeform: Shape 183">
              <a:extLst>
                <a:ext uri="{FF2B5EF4-FFF2-40B4-BE49-F238E27FC236}">
                  <a16:creationId xmlns:a16="http://schemas.microsoft.com/office/drawing/2014/main" xmlns="" id="{E5A00545-86D4-4E1E-B706-6B03BD86D5A9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24022898-EAE3-4DAD-9312-D4FD7524CC3C}"/>
              </a:ext>
            </a:extLst>
          </p:cNvPr>
          <p:cNvGrpSpPr/>
          <p:nvPr/>
        </p:nvGrpSpPr>
        <p:grpSpPr>
          <a:xfrm>
            <a:off x="532083" y="1636099"/>
            <a:ext cx="10391313" cy="5025961"/>
            <a:chOff x="2220206" y="2053050"/>
            <a:chExt cx="6964626" cy="3671501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4100" name="Picture 4" descr="C:\Users\tkddn\OneDrive\Desktop\3.회원별 누적 구매액순위con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06" y="2053050"/>
              <a:ext cx="6942138" cy="1880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1" name="Picture 5" descr="C:\Users\tkddn\OneDrive\Desktop\3.회원별 누적 구매액순위 DAO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3504" y="4493267"/>
              <a:ext cx="6941328" cy="1088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직사각형 39"/>
            <p:cNvSpPr/>
            <p:nvPr/>
          </p:nvSpPr>
          <p:spPr>
            <a:xfrm>
              <a:off x="3791744" y="4690478"/>
              <a:ext cx="4536504" cy="225027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4625840" y="3298385"/>
              <a:ext cx="1902208" cy="242307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47" name="그림 46">
            <a:extLst>
              <a:ext uri="{FF2B5EF4-FFF2-40B4-BE49-F238E27FC236}">
                <a16:creationId xmlns:a16="http://schemas.microsoft.com/office/drawing/2014/main" xmlns="" id="{B1FF5D4E-3D64-4DC7-9B39-F38104E819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777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261807" y="250079"/>
            <a:ext cx="4099940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식당 별 주문금액 순위 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4" name="Freeform: Shape 16">
            <a:extLst>
              <a:ext uri="{FF2B5EF4-FFF2-40B4-BE49-F238E27FC236}">
                <a16:creationId xmlns:a16="http://schemas.microsoft.com/office/drawing/2014/main" xmlns="" id="{F179F6B6-E325-4852-A7B0-5A31A99A0DB5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5" name="Freeform: Shape 14">
            <a:extLst>
              <a:ext uri="{FF2B5EF4-FFF2-40B4-BE49-F238E27FC236}">
                <a16:creationId xmlns:a16="http://schemas.microsoft.com/office/drawing/2014/main" xmlns="" id="{AA393F81-DD6F-4BFA-B491-D7E3E25F4739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6" name="Group 184">
            <a:extLst>
              <a:ext uri="{FF2B5EF4-FFF2-40B4-BE49-F238E27FC236}">
                <a16:creationId xmlns:a16="http://schemas.microsoft.com/office/drawing/2014/main" xmlns="" id="{00B95A3F-52E2-4FB4-84D5-521FD4302FAE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7" name="Freeform: Shape 182">
              <a:extLst>
                <a:ext uri="{FF2B5EF4-FFF2-40B4-BE49-F238E27FC236}">
                  <a16:creationId xmlns:a16="http://schemas.microsoft.com/office/drawing/2014/main" xmlns="" id="{4BB48CF7-8EC3-4322-AD24-FB182890E1C8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8" name="Freeform: Shape 183">
              <a:extLst>
                <a:ext uri="{FF2B5EF4-FFF2-40B4-BE49-F238E27FC236}">
                  <a16:creationId xmlns:a16="http://schemas.microsoft.com/office/drawing/2014/main" xmlns="" id="{9335C5A5-7A44-462E-A4C4-C7FEDED698EA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49" name="그림 48">
            <a:extLst>
              <a:ext uri="{FF2B5EF4-FFF2-40B4-BE49-F238E27FC236}">
                <a16:creationId xmlns:a16="http://schemas.microsoft.com/office/drawing/2014/main" xmlns="" id="{A59A5659-B470-4B0F-AA92-90937AC340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19DD25FD-997D-4423-914C-FF927E5B82D4}"/>
              </a:ext>
            </a:extLst>
          </p:cNvPr>
          <p:cNvGrpSpPr/>
          <p:nvPr/>
        </p:nvGrpSpPr>
        <p:grpSpPr>
          <a:xfrm>
            <a:off x="397225" y="1571558"/>
            <a:ext cx="10317667" cy="5036363"/>
            <a:chOff x="2274644" y="1988840"/>
            <a:chExt cx="7019243" cy="3735711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5124" name="Picture 4" descr="C:\Users\tkddn\OneDrive\Desktop\4.식당별 누적 주문금액순위CON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644" y="1988840"/>
              <a:ext cx="7012139" cy="1933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5" name="Picture 5" descr="C:\Users\tkddn\OneDrive\Desktop\4.식당별 누적 주문금액순위DAO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4644" y="4293097"/>
              <a:ext cx="7019243" cy="1419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직사각형 39"/>
            <p:cNvSpPr/>
            <p:nvPr/>
          </p:nvSpPr>
          <p:spPr>
            <a:xfrm>
              <a:off x="3114868" y="4577964"/>
              <a:ext cx="4536504" cy="225027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4740750" y="3159098"/>
              <a:ext cx="1931315" cy="225027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6240016" y="3450999"/>
              <a:ext cx="2232248" cy="31055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6240084" y="4293097"/>
              <a:ext cx="1944148" cy="27430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0075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302109" y="269188"/>
            <a:ext cx="4748012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음식 별 주문건수</a:t>
              </a:r>
              <a:endParaRPr lang="en-US" altLang="ko-KR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4" name="Freeform: Shape 16">
            <a:extLst>
              <a:ext uri="{FF2B5EF4-FFF2-40B4-BE49-F238E27FC236}">
                <a16:creationId xmlns:a16="http://schemas.microsoft.com/office/drawing/2014/main" xmlns="" id="{250A0FCA-02FC-4EE0-870A-D92834D2741D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5" name="Freeform: Shape 14">
            <a:extLst>
              <a:ext uri="{FF2B5EF4-FFF2-40B4-BE49-F238E27FC236}">
                <a16:creationId xmlns:a16="http://schemas.microsoft.com/office/drawing/2014/main" xmlns="" id="{67C8CB7D-C1D5-4BD0-9F02-50651D107B7F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6" name="Group 184">
            <a:extLst>
              <a:ext uri="{FF2B5EF4-FFF2-40B4-BE49-F238E27FC236}">
                <a16:creationId xmlns:a16="http://schemas.microsoft.com/office/drawing/2014/main" xmlns="" id="{DB228699-4270-4DFB-9B65-B2DC93BB4C38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7" name="Freeform: Shape 182">
              <a:extLst>
                <a:ext uri="{FF2B5EF4-FFF2-40B4-BE49-F238E27FC236}">
                  <a16:creationId xmlns:a16="http://schemas.microsoft.com/office/drawing/2014/main" xmlns="" id="{7EA00B04-9A12-4DCB-BA14-ABB023716E49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8" name="Freeform: Shape 183">
              <a:extLst>
                <a:ext uri="{FF2B5EF4-FFF2-40B4-BE49-F238E27FC236}">
                  <a16:creationId xmlns:a16="http://schemas.microsoft.com/office/drawing/2014/main" xmlns="" id="{9C25E81A-3458-4DB2-8186-221119D324B2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49" name="그림 48">
            <a:extLst>
              <a:ext uri="{FF2B5EF4-FFF2-40B4-BE49-F238E27FC236}">
                <a16:creationId xmlns:a16="http://schemas.microsoft.com/office/drawing/2014/main" xmlns="" id="{81598E10-BDA2-4852-9697-4D2F8ABC62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28F47329-1A7B-465C-A8C8-39D229EC37C2}"/>
              </a:ext>
            </a:extLst>
          </p:cNvPr>
          <p:cNvGrpSpPr/>
          <p:nvPr/>
        </p:nvGrpSpPr>
        <p:grpSpPr>
          <a:xfrm>
            <a:off x="659652" y="1590667"/>
            <a:ext cx="10055239" cy="5384564"/>
            <a:chOff x="2371222" y="1863724"/>
            <a:chExt cx="7040496" cy="3860827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6148" name="Picture 4" descr="C:\Users\tkddn\OneDrive\Desktop\5.음식별 주문건수 순위 조회DAO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1222" y="4149081"/>
              <a:ext cx="7040496" cy="12820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9" name="Picture 5" descr="C:\Users\tkddn\OneDrive\Desktop\5.음식별 주문건수 순위 조회CON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1222" y="1863724"/>
              <a:ext cx="7040496" cy="20050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직사각형 39"/>
            <p:cNvSpPr/>
            <p:nvPr/>
          </p:nvSpPr>
          <p:spPr>
            <a:xfrm>
              <a:off x="3277947" y="4304931"/>
              <a:ext cx="4345230" cy="223999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7632919" y="4079152"/>
              <a:ext cx="1515375" cy="30784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4583832" y="3385415"/>
              <a:ext cx="2232248" cy="244971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5240265" y="2877694"/>
              <a:ext cx="2232248" cy="222721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63378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344789" y="303775"/>
            <a:ext cx="4387972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(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관리자 창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)</a:t>
              </a:r>
            </a:p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</a:t>
              </a:r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음식 별 주문금액 순위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2" name="Freeform: Shape 16">
            <a:extLst>
              <a:ext uri="{FF2B5EF4-FFF2-40B4-BE49-F238E27FC236}">
                <a16:creationId xmlns:a16="http://schemas.microsoft.com/office/drawing/2014/main" xmlns="" id="{63DD28E3-CC89-4FC5-8305-FE16FD7649C6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3" name="Freeform: Shape 14">
            <a:extLst>
              <a:ext uri="{FF2B5EF4-FFF2-40B4-BE49-F238E27FC236}">
                <a16:creationId xmlns:a16="http://schemas.microsoft.com/office/drawing/2014/main" xmlns="" id="{09845E35-0929-47D3-ACAC-EEC91092CA69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4" name="Group 184">
            <a:extLst>
              <a:ext uri="{FF2B5EF4-FFF2-40B4-BE49-F238E27FC236}">
                <a16:creationId xmlns:a16="http://schemas.microsoft.com/office/drawing/2014/main" xmlns="" id="{60A5D0DD-9173-4457-919D-F0C99F7F486F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5" name="Freeform: Shape 182">
              <a:extLst>
                <a:ext uri="{FF2B5EF4-FFF2-40B4-BE49-F238E27FC236}">
                  <a16:creationId xmlns:a16="http://schemas.microsoft.com/office/drawing/2014/main" xmlns="" id="{8C826ACF-A19B-4ED7-98C9-724F7312616A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6" name="Freeform: Shape 183">
              <a:extLst>
                <a:ext uri="{FF2B5EF4-FFF2-40B4-BE49-F238E27FC236}">
                  <a16:creationId xmlns:a16="http://schemas.microsoft.com/office/drawing/2014/main" xmlns="" id="{98E0FE42-DB53-4EB0-8DD7-B5983E7830D0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47" name="그림 46">
            <a:extLst>
              <a:ext uri="{FF2B5EF4-FFF2-40B4-BE49-F238E27FC236}">
                <a16:creationId xmlns:a16="http://schemas.microsoft.com/office/drawing/2014/main" xmlns="" id="{49AF8481-EB6E-43C1-B189-330491904C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26C8D714-80B6-4319-A979-2521EA61856A}"/>
              </a:ext>
            </a:extLst>
          </p:cNvPr>
          <p:cNvGrpSpPr/>
          <p:nvPr/>
        </p:nvGrpSpPr>
        <p:grpSpPr>
          <a:xfrm>
            <a:off x="608123" y="1625254"/>
            <a:ext cx="10200554" cy="5021731"/>
            <a:chOff x="2542430" y="1895667"/>
            <a:chExt cx="6633626" cy="3981605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7170" name="Picture 2" descr="C:\Users\tkddn\OneDrive\Desktop\6.음식별 주문금액 순위 조회DAO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4864" y="4685551"/>
              <a:ext cx="6631192" cy="1191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1" name="Picture 3" descr="C:\Users\tkddn\OneDrive\Desktop\6.음식별 주문금액 순위 조회CON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2430" y="1895667"/>
              <a:ext cx="6631193" cy="2550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직사각형 37"/>
            <p:cNvSpPr/>
            <p:nvPr/>
          </p:nvSpPr>
          <p:spPr>
            <a:xfrm>
              <a:off x="3431704" y="4869160"/>
              <a:ext cx="3600400" cy="20162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7570647" y="4685550"/>
              <a:ext cx="1487579" cy="229954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3719736" y="3786439"/>
              <a:ext cx="2448272" cy="31055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4943872" y="3247890"/>
              <a:ext cx="2376264" cy="31055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85165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B08BBB2-D723-40AF-8467-E62CB87D54D3}"/>
              </a:ext>
            </a:extLst>
          </p:cNvPr>
          <p:cNvGrpSpPr/>
          <p:nvPr/>
        </p:nvGrpSpPr>
        <p:grpSpPr>
          <a:xfrm>
            <a:off x="302109" y="269188"/>
            <a:ext cx="4387972" cy="1186223"/>
            <a:chOff x="533402" y="492718"/>
            <a:chExt cx="2887976" cy="118622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BDC47C5-632E-4F29-B869-B455C3444DF4}"/>
                </a:ext>
              </a:extLst>
            </p:cNvPr>
            <p:cNvSpPr txBox="1"/>
            <p:nvPr/>
          </p:nvSpPr>
          <p:spPr>
            <a:xfrm>
              <a:off x="533402" y="492718"/>
              <a:ext cx="882648" cy="66082"/>
            </a:xfrm>
            <a:prstGeom prst="roundRect">
              <a:avLst>
                <a:gd name="adj" fmla="val 50000"/>
              </a:avLst>
            </a:pr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sym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5D937E8-ACE5-44B9-8289-4EA6EFF979B0}"/>
                </a:ext>
              </a:extLst>
            </p:cNvPr>
            <p:cNvSpPr txBox="1"/>
            <p:nvPr/>
          </p:nvSpPr>
          <p:spPr>
            <a:xfrm>
              <a:off x="533402" y="694056"/>
              <a:ext cx="2887976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코드리뷰</a:t>
              </a:r>
              <a:endParaRPr lang="en-US" altLang="ko-KR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  <a:p>
              <a:r>
                <a:rPr lang="en-US" altLang="ko-KR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:</a:t>
              </a:r>
              <a:r>
                <a:rPr lang="ko-KR" altLang="en-US" sz="3200" b="1" dirty="0" err="1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맛집</a:t>
              </a:r>
              <a:r>
                <a:rPr lang="ko-KR" altLang="en-US" sz="3200" b="1" dirty="0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  <a:cs typeface="Segoe UI" panose="020B0502040204020203" pitchFamily="34" charset="0"/>
                </a:rPr>
                <a:t> 추천</a:t>
              </a:r>
              <a:endParaRPr lang="en-US" sz="3200" b="1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39" name="Freeform: Shape 16">
            <a:extLst>
              <a:ext uri="{FF2B5EF4-FFF2-40B4-BE49-F238E27FC236}">
                <a16:creationId xmlns:a16="http://schemas.microsoft.com/office/drawing/2014/main" xmlns="" id="{2D81DC79-9C4B-47E3-BDF7-4A5AB8867F72}"/>
              </a:ext>
            </a:extLst>
          </p:cNvPr>
          <p:cNvSpPr/>
          <p:nvPr/>
        </p:nvSpPr>
        <p:spPr>
          <a:xfrm rot="10800000">
            <a:off x="8996515" y="-52101"/>
            <a:ext cx="3195485" cy="4915504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41" name="Freeform: Shape 14">
            <a:extLst>
              <a:ext uri="{FF2B5EF4-FFF2-40B4-BE49-F238E27FC236}">
                <a16:creationId xmlns:a16="http://schemas.microsoft.com/office/drawing/2014/main" xmlns="" id="{15A6647F-583B-4961-AA23-EC2B15B68A0C}"/>
              </a:ext>
            </a:extLst>
          </p:cNvPr>
          <p:cNvSpPr/>
          <p:nvPr/>
        </p:nvSpPr>
        <p:spPr>
          <a:xfrm>
            <a:off x="-1" y="4149080"/>
            <a:ext cx="5077553" cy="2708920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>
            <a:gsLst>
              <a:gs pos="10000">
                <a:srgbClr val="51A7C2"/>
              </a:gs>
              <a:gs pos="100000">
                <a:srgbClr val="B5F6DA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grpSp>
        <p:nvGrpSpPr>
          <p:cNvPr id="42" name="Group 184">
            <a:extLst>
              <a:ext uri="{FF2B5EF4-FFF2-40B4-BE49-F238E27FC236}">
                <a16:creationId xmlns:a16="http://schemas.microsoft.com/office/drawing/2014/main" xmlns="" id="{2821B1B7-7D9C-444E-B69D-33D05059CA44}"/>
              </a:ext>
            </a:extLst>
          </p:cNvPr>
          <p:cNvGrpSpPr/>
          <p:nvPr/>
        </p:nvGrpSpPr>
        <p:grpSpPr>
          <a:xfrm>
            <a:off x="11015980" y="269188"/>
            <a:ext cx="873911" cy="931489"/>
            <a:chOff x="10053740" y="592613"/>
            <a:chExt cx="1072349" cy="857252"/>
          </a:xfrm>
        </p:grpSpPr>
        <p:sp>
          <p:nvSpPr>
            <p:cNvPr id="43" name="Freeform: Shape 182">
              <a:extLst>
                <a:ext uri="{FF2B5EF4-FFF2-40B4-BE49-F238E27FC236}">
                  <a16:creationId xmlns:a16="http://schemas.microsoft.com/office/drawing/2014/main" xmlns="" id="{62AC7EBB-D0BA-4630-B26D-DE069C8B2F78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  <p:sp>
          <p:nvSpPr>
            <p:cNvPr id="44" name="Freeform: Shape 183">
              <a:extLst>
                <a:ext uri="{FF2B5EF4-FFF2-40B4-BE49-F238E27FC236}">
                  <a16:creationId xmlns:a16="http://schemas.microsoft.com/office/drawing/2014/main" xmlns="" id="{4179596E-822C-4DC0-B194-3A7F1B737539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adFill>
              <a:gsLst>
                <a:gs pos="10000">
                  <a:srgbClr val="51A7C2"/>
                </a:gs>
                <a:gs pos="100000">
                  <a:srgbClr val="B5F6D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  <p:pic>
        <p:nvPicPr>
          <p:cNvPr id="45" name="그림 44">
            <a:extLst>
              <a:ext uri="{FF2B5EF4-FFF2-40B4-BE49-F238E27FC236}">
                <a16:creationId xmlns:a16="http://schemas.microsoft.com/office/drawing/2014/main" xmlns="" id="{40C12100-F57E-4D8C-9FFE-D8E8DAD781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AE8FF855-0CD0-48CC-BFC1-DDB84A5A9C6B}"/>
              </a:ext>
            </a:extLst>
          </p:cNvPr>
          <p:cNvGrpSpPr/>
          <p:nvPr/>
        </p:nvGrpSpPr>
        <p:grpSpPr>
          <a:xfrm>
            <a:off x="415965" y="1590666"/>
            <a:ext cx="10275481" cy="4998145"/>
            <a:chOff x="2479226" y="1942118"/>
            <a:chExt cx="7165063" cy="3838786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4895EED9-E563-4E6A-8B3E-5657FF093056}"/>
                </a:ext>
              </a:extLst>
            </p:cNvPr>
            <p:cNvGrpSpPr/>
            <p:nvPr/>
          </p:nvGrpSpPr>
          <p:grpSpPr>
            <a:xfrm>
              <a:off x="7660681" y="5492199"/>
              <a:ext cx="245702" cy="232352"/>
              <a:chOff x="8489960" y="6330552"/>
              <a:chExt cx="360363" cy="255587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72A38F6F-746C-49FD-9DA9-EC67749F3385}"/>
                  </a:ext>
                </a:extLst>
              </p:cNvPr>
              <p:cNvGrpSpPr/>
              <p:nvPr/>
            </p:nvGrpSpPr>
            <p:grpSpPr>
              <a:xfrm>
                <a:off x="8489960" y="6330552"/>
                <a:ext cx="90488" cy="255587"/>
                <a:chOff x="8489960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6" name="Freeform 1731">
                  <a:extLst>
                    <a:ext uri="{FF2B5EF4-FFF2-40B4-BE49-F238E27FC236}">
                      <a16:creationId xmlns:a16="http://schemas.microsoft.com/office/drawing/2014/main" xmlns="" id="{A9910E4E-F297-4D1D-AFA7-64D2AA656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7" name="Freeform 1732">
                  <a:extLst>
                    <a:ext uri="{FF2B5EF4-FFF2-40B4-BE49-F238E27FC236}">
                      <a16:creationId xmlns:a16="http://schemas.microsoft.com/office/drawing/2014/main" xmlns="" id="{2BCE41AB-7C3F-472D-91B5-65C1201B74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9960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55297E3E-8BB2-44D8-9853-3AD3DC60CAB4}"/>
                  </a:ext>
                </a:extLst>
              </p:cNvPr>
              <p:cNvGrpSpPr/>
              <p:nvPr/>
            </p:nvGrpSpPr>
            <p:grpSpPr>
              <a:xfrm>
                <a:off x="8759835" y="6330552"/>
                <a:ext cx="90488" cy="255587"/>
                <a:chOff x="8759835" y="6330552"/>
                <a:chExt cx="90488" cy="255587"/>
              </a:xfrm>
              <a:solidFill>
                <a:schemeClr val="bg1"/>
              </a:solidFill>
            </p:grpSpPr>
            <p:sp>
              <p:nvSpPr>
                <p:cNvPr id="138" name="Freeform 1733">
                  <a:extLst>
                    <a:ext uri="{FF2B5EF4-FFF2-40B4-BE49-F238E27FC236}">
                      <a16:creationId xmlns:a16="http://schemas.microsoft.com/office/drawing/2014/main" xmlns="" id="{F81281BD-767C-43BF-9501-E0227B79AF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330552"/>
                  <a:ext cx="90488" cy="90488"/>
                </a:xfrm>
                <a:custGeom>
                  <a:avLst/>
                  <a:gdLst>
                    <a:gd name="T0" fmla="*/ 12 w 24"/>
                    <a:gd name="T1" fmla="*/ 24 h 24"/>
                    <a:gd name="T2" fmla="*/ 0 w 24"/>
                    <a:gd name="T3" fmla="*/ 12 h 24"/>
                    <a:gd name="T4" fmla="*/ 12 w 24"/>
                    <a:gd name="T5" fmla="*/ 0 h 24"/>
                    <a:gd name="T6" fmla="*/ 24 w 24"/>
                    <a:gd name="T7" fmla="*/ 12 h 24"/>
                    <a:gd name="T8" fmla="*/ 12 w 24"/>
                    <a:gd name="T9" fmla="*/ 24 h 24"/>
                    <a:gd name="T10" fmla="*/ 12 w 24"/>
                    <a:gd name="T11" fmla="*/ 4 h 24"/>
                    <a:gd name="T12" fmla="*/ 4 w 24"/>
                    <a:gd name="T13" fmla="*/ 12 h 24"/>
                    <a:gd name="T14" fmla="*/ 12 w 24"/>
                    <a:gd name="T15" fmla="*/ 20 h 24"/>
                    <a:gd name="T16" fmla="*/ 20 w 24"/>
                    <a:gd name="T17" fmla="*/ 12 h 24"/>
                    <a:gd name="T18" fmla="*/ 12 w 24"/>
                    <a:gd name="T19" fmla="*/ 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24"/>
                      </a:moveTo>
                      <a:cubicBezTo>
                        <a:pt x="5" y="24"/>
                        <a:pt x="0" y="19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9"/>
                        <a:pt x="19" y="24"/>
                        <a:pt x="12" y="24"/>
                      </a:cubicBezTo>
                      <a:close/>
                      <a:moveTo>
                        <a:pt x="12" y="4"/>
                      </a:moveTo>
                      <a:cubicBezTo>
                        <a:pt x="8" y="4"/>
                        <a:pt x="4" y="8"/>
                        <a:pt x="4" y="12"/>
                      </a:cubicBezTo>
                      <a:cubicBezTo>
                        <a:pt x="4" y="16"/>
                        <a:pt x="8" y="20"/>
                        <a:pt x="12" y="20"/>
                      </a:cubicBezTo>
                      <a:cubicBezTo>
                        <a:pt x="16" y="20"/>
                        <a:pt x="20" y="16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  <p:sp>
              <p:nvSpPr>
                <p:cNvPr id="139" name="Freeform 1734">
                  <a:extLst>
                    <a:ext uri="{FF2B5EF4-FFF2-40B4-BE49-F238E27FC236}">
                      <a16:creationId xmlns:a16="http://schemas.microsoft.com/office/drawing/2014/main" xmlns="" id="{0C51F55B-4DDF-4360-9134-A9E474EE20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59835" y="6436914"/>
                  <a:ext cx="90488" cy="149225"/>
                </a:xfrm>
                <a:custGeom>
                  <a:avLst/>
                  <a:gdLst>
                    <a:gd name="T0" fmla="*/ 22 w 24"/>
                    <a:gd name="T1" fmla="*/ 40 h 40"/>
                    <a:gd name="T2" fmla="*/ 2 w 24"/>
                    <a:gd name="T3" fmla="*/ 40 h 40"/>
                    <a:gd name="T4" fmla="*/ 0 w 24"/>
                    <a:gd name="T5" fmla="*/ 38 h 40"/>
                    <a:gd name="T6" fmla="*/ 0 w 24"/>
                    <a:gd name="T7" fmla="*/ 12 h 40"/>
                    <a:gd name="T8" fmla="*/ 12 w 24"/>
                    <a:gd name="T9" fmla="*/ 0 h 40"/>
                    <a:gd name="T10" fmla="*/ 24 w 24"/>
                    <a:gd name="T11" fmla="*/ 12 h 40"/>
                    <a:gd name="T12" fmla="*/ 24 w 24"/>
                    <a:gd name="T13" fmla="*/ 38 h 40"/>
                    <a:gd name="T14" fmla="*/ 22 w 24"/>
                    <a:gd name="T15" fmla="*/ 40 h 40"/>
                    <a:gd name="T16" fmla="*/ 4 w 24"/>
                    <a:gd name="T17" fmla="*/ 36 h 40"/>
                    <a:gd name="T18" fmla="*/ 20 w 24"/>
                    <a:gd name="T19" fmla="*/ 36 h 40"/>
                    <a:gd name="T20" fmla="*/ 20 w 24"/>
                    <a:gd name="T21" fmla="*/ 12 h 40"/>
                    <a:gd name="T22" fmla="*/ 12 w 24"/>
                    <a:gd name="T23" fmla="*/ 4 h 40"/>
                    <a:gd name="T24" fmla="*/ 4 w 24"/>
                    <a:gd name="T25" fmla="*/ 12 h 40"/>
                    <a:gd name="T26" fmla="*/ 4 w 24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40">
                      <a:moveTo>
                        <a:pt x="22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38"/>
                        <a:pt x="24" y="38"/>
                        <a:pt x="24" y="38"/>
                      </a:cubicBezTo>
                      <a:cubicBezTo>
                        <a:pt x="24" y="39"/>
                        <a:pt x="23" y="40"/>
                        <a:pt x="22" y="40"/>
                      </a:cubicBezTo>
                      <a:close/>
                      <a:moveTo>
                        <a:pt x="4" y="36"/>
                      </a:move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8"/>
                        <a:pt x="16" y="4"/>
                        <a:pt x="12" y="4"/>
                      </a:cubicBezTo>
                      <a:cubicBezTo>
                        <a:pt x="8" y="4"/>
                        <a:pt x="4" y="8"/>
                        <a:pt x="4" y="12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>
                    <a:latin typeface="배달의민족 한나는 열한살" panose="020B0600000101010101" pitchFamily="50" charset="-127"/>
                    <a:ea typeface="배달의민족 한나는 열한살" panose="020B0600000101010101" pitchFamily="50" charset="-127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xmlns="" id="{1A54ACCB-BDD5-405A-AC2D-19D4F7D02D42}"/>
                  </a:ext>
                </a:extLst>
              </p:cNvPr>
              <p:cNvGrpSpPr/>
              <p:nvPr/>
            </p:nvGrpSpPr>
            <p:grpSpPr>
              <a:xfrm>
                <a:off x="8616263" y="6429446"/>
                <a:ext cx="107756" cy="57798"/>
                <a:chOff x="8924925" y="6103144"/>
                <a:chExt cx="202406" cy="102394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xmlns="" id="{73BDF67B-2FFB-4A4B-8CCD-45373676A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xmlns="" id="{66DDBFF9-5EDB-47D7-9696-8318EC05D8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7331" y="6103144"/>
                  <a:ext cx="0" cy="102394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xmlns="" id="{203C055C-E5D2-4474-945D-3DFE8636D9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924925" y="6154341"/>
                  <a:ext cx="200025" cy="0"/>
                </a:xfrm>
                <a:prstGeom prst="line">
                  <a:avLst/>
                </a:prstGeom>
                <a:ln w="127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B570ED0F-D1CA-40C2-948D-6A83A4207FA7}"/>
                </a:ext>
              </a:extLst>
            </p:cNvPr>
            <p:cNvGrpSpPr/>
            <p:nvPr/>
          </p:nvGrpSpPr>
          <p:grpSpPr>
            <a:xfrm>
              <a:off x="7665617" y="4373822"/>
              <a:ext cx="234878" cy="311728"/>
              <a:chOff x="7005638" y="1814513"/>
              <a:chExt cx="344488" cy="342901"/>
            </a:xfrm>
          </p:grpSpPr>
          <p:sp>
            <p:nvSpPr>
              <p:cNvPr id="150" name="Freeform 92">
                <a:extLst>
                  <a:ext uri="{FF2B5EF4-FFF2-40B4-BE49-F238E27FC236}">
                    <a16:creationId xmlns:a16="http://schemas.microsoft.com/office/drawing/2014/main" xmlns="" id="{1FA0B447-5DFE-47AD-B753-54D858EFB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8351" y="1814513"/>
                <a:ext cx="119063" cy="184150"/>
              </a:xfrm>
              <a:custGeom>
                <a:avLst/>
                <a:gdLst>
                  <a:gd name="T0" fmla="*/ 32 w 32"/>
                  <a:gd name="T1" fmla="*/ 34 h 49"/>
                  <a:gd name="T2" fmla="*/ 16 w 32"/>
                  <a:gd name="T3" fmla="*/ 49 h 49"/>
                  <a:gd name="T4" fmla="*/ 0 w 32"/>
                  <a:gd name="T5" fmla="*/ 34 h 49"/>
                  <a:gd name="T6" fmla="*/ 16 w 32"/>
                  <a:gd name="T7" fmla="*/ 0 h 49"/>
                  <a:gd name="T8" fmla="*/ 32 w 32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9">
                    <a:moveTo>
                      <a:pt x="32" y="34"/>
                    </a:moveTo>
                    <a:cubicBezTo>
                      <a:pt x="32" y="43"/>
                      <a:pt x="25" y="49"/>
                      <a:pt x="16" y="49"/>
                    </a:cubicBezTo>
                    <a:cubicBezTo>
                      <a:pt x="7" y="49"/>
                      <a:pt x="0" y="43"/>
                      <a:pt x="0" y="34"/>
                    </a:cubicBezTo>
                    <a:cubicBezTo>
                      <a:pt x="0" y="25"/>
                      <a:pt x="16" y="0"/>
                      <a:pt x="16" y="0"/>
                    </a:cubicBezTo>
                    <a:cubicBezTo>
                      <a:pt x="16" y="0"/>
                      <a:pt x="32" y="25"/>
                      <a:pt x="32" y="34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1" name="Freeform 93">
                <a:extLst>
                  <a:ext uri="{FF2B5EF4-FFF2-40B4-BE49-F238E27FC236}">
                    <a16:creationId xmlns:a16="http://schemas.microsoft.com/office/drawing/2014/main" xmlns="" id="{A310E67B-F47D-4668-B8F1-CB6A416C8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8513" y="1943101"/>
                <a:ext cx="30163" cy="25400"/>
              </a:xfrm>
              <a:custGeom>
                <a:avLst/>
                <a:gdLst>
                  <a:gd name="T0" fmla="*/ 8 w 8"/>
                  <a:gd name="T1" fmla="*/ 7 h 7"/>
                  <a:gd name="T2" fmla="*/ 0 w 8"/>
                  <a:gd name="T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cubicBezTo>
                      <a:pt x="4" y="7"/>
                      <a:pt x="0" y="4"/>
                      <a:pt x="0" y="0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2" name="Rectangle 94">
                <a:extLst>
                  <a:ext uri="{FF2B5EF4-FFF2-40B4-BE49-F238E27FC236}">
                    <a16:creationId xmlns:a16="http://schemas.microsoft.com/office/drawing/2014/main" xmlns="" id="{36805C16-557A-40AE-A09A-7CE64CC84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51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3" name="Freeform 95">
                <a:extLst>
                  <a:ext uri="{FF2B5EF4-FFF2-40B4-BE49-F238E27FC236}">
                    <a16:creationId xmlns:a16="http://schemas.microsoft.com/office/drawing/2014/main" xmlns="" id="{33FD370A-57D5-40A8-8649-C289D216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063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32 w 32"/>
                  <a:gd name="T5" fmla="*/ 36 h 58"/>
                  <a:gd name="T6" fmla="*/ 32 w 32"/>
                  <a:gd name="T7" fmla="*/ 4 h 58"/>
                  <a:gd name="T8" fmla="*/ 22 w 32"/>
                  <a:gd name="T9" fmla="*/ 28 h 58"/>
                  <a:gd name="T10" fmla="*/ 10 w 32"/>
                  <a:gd name="T11" fmla="*/ 40 h 58"/>
                  <a:gd name="T12" fmla="*/ 13 w 32"/>
                  <a:gd name="T13" fmla="*/ 28 h 58"/>
                  <a:gd name="T14" fmla="*/ 6 w 32"/>
                  <a:gd name="T15" fmla="*/ 24 h 58"/>
                  <a:gd name="T16" fmla="*/ 0 w 32"/>
                  <a:gd name="T17" fmla="*/ 40 h 58"/>
                  <a:gd name="T18" fmla="*/ 0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29" y="39"/>
                      <a:pt x="32" y="36"/>
                    </a:cubicBezTo>
                    <a:cubicBezTo>
                      <a:pt x="32" y="30"/>
                      <a:pt x="32" y="4"/>
                      <a:pt x="32" y="4"/>
                    </a:cubicBezTo>
                    <a:cubicBezTo>
                      <a:pt x="32" y="4"/>
                      <a:pt x="22" y="0"/>
                      <a:pt x="22" y="2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2"/>
                      <a:pt x="9" y="20"/>
                      <a:pt x="6" y="24"/>
                    </a:cubicBezTo>
                    <a:cubicBezTo>
                      <a:pt x="3" y="28"/>
                      <a:pt x="0" y="40"/>
                      <a:pt x="0" y="40"/>
                    </a:cubicBezTo>
                    <a:cubicBezTo>
                      <a:pt x="0" y="58"/>
                      <a:pt x="0" y="58"/>
                      <a:pt x="0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4" name="Rectangle 96">
                <a:extLst>
                  <a:ext uri="{FF2B5EF4-FFF2-40B4-BE49-F238E27FC236}">
                    <a16:creationId xmlns:a16="http://schemas.microsoft.com/office/drawing/2014/main" xmlns="" id="{8A271957-DC22-447C-A524-CC8CB811D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0088" y="2111376"/>
                <a:ext cx="90488" cy="46038"/>
              </a:xfrm>
              <a:prstGeom prst="rect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xmlns="" id="{3EDE8BFA-E81D-4D43-B60F-E011E29E3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1893888"/>
                <a:ext cx="119063" cy="217488"/>
              </a:xfrm>
              <a:custGeom>
                <a:avLst/>
                <a:gdLst>
                  <a:gd name="T0" fmla="*/ 16 w 32"/>
                  <a:gd name="T1" fmla="*/ 58 h 58"/>
                  <a:gd name="T2" fmla="*/ 16 w 32"/>
                  <a:gd name="T3" fmla="*/ 52 h 58"/>
                  <a:gd name="T4" fmla="*/ 0 w 32"/>
                  <a:gd name="T5" fmla="*/ 36 h 58"/>
                  <a:gd name="T6" fmla="*/ 0 w 32"/>
                  <a:gd name="T7" fmla="*/ 4 h 58"/>
                  <a:gd name="T8" fmla="*/ 10 w 32"/>
                  <a:gd name="T9" fmla="*/ 28 h 58"/>
                  <a:gd name="T10" fmla="*/ 22 w 32"/>
                  <a:gd name="T11" fmla="*/ 40 h 58"/>
                  <a:gd name="T12" fmla="*/ 19 w 32"/>
                  <a:gd name="T13" fmla="*/ 28 h 58"/>
                  <a:gd name="T14" fmla="*/ 26 w 32"/>
                  <a:gd name="T15" fmla="*/ 24 h 58"/>
                  <a:gd name="T16" fmla="*/ 32 w 32"/>
                  <a:gd name="T17" fmla="*/ 40 h 58"/>
                  <a:gd name="T18" fmla="*/ 32 w 32"/>
                  <a:gd name="T1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58">
                    <a:moveTo>
                      <a:pt x="16" y="58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2"/>
                      <a:pt x="4" y="39"/>
                      <a:pt x="0" y="36"/>
                    </a:cubicBezTo>
                    <a:cubicBezTo>
                      <a:pt x="0" y="30"/>
                      <a:pt x="0" y="4"/>
                      <a:pt x="0" y="4"/>
                    </a:cubicBezTo>
                    <a:cubicBezTo>
                      <a:pt x="0" y="4"/>
                      <a:pt x="10" y="0"/>
                      <a:pt x="10" y="2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8" y="22"/>
                      <a:pt x="23" y="20"/>
                      <a:pt x="26" y="24"/>
                    </a:cubicBezTo>
                    <a:cubicBezTo>
                      <a:pt x="29" y="28"/>
                      <a:pt x="32" y="40"/>
                      <a:pt x="32" y="40"/>
                    </a:cubicBezTo>
                    <a:cubicBezTo>
                      <a:pt x="32" y="58"/>
                      <a:pt x="32" y="58"/>
                      <a:pt x="32" y="58"/>
                    </a:cubicBezTo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58" name="Group 4">
              <a:extLst>
                <a:ext uri="{FF2B5EF4-FFF2-40B4-BE49-F238E27FC236}">
                  <a16:creationId xmlns:a16="http://schemas.microsoft.com/office/drawing/2014/main" xmlns="" id="{C6F09A0A-39A9-4CD1-900A-28B0F9BEF09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1373" y="3271611"/>
              <a:ext cx="264319" cy="358774"/>
              <a:chOff x="5154" y="2054"/>
              <a:chExt cx="222" cy="226"/>
            </a:xfrm>
            <a:solidFill>
              <a:schemeClr val="bg1"/>
            </a:solidFill>
          </p:grpSpPr>
          <p:sp>
            <p:nvSpPr>
              <p:cNvPr id="160" name="Freeform 5">
                <a:extLst>
                  <a:ext uri="{FF2B5EF4-FFF2-40B4-BE49-F238E27FC236}">
                    <a16:creationId xmlns:a16="http://schemas.microsoft.com/office/drawing/2014/main" xmlns="" id="{D5F81A0C-C399-4675-AB5E-9994E14A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4" y="2054"/>
                <a:ext cx="222" cy="226"/>
              </a:xfrm>
              <a:custGeom>
                <a:avLst/>
                <a:gdLst>
                  <a:gd name="T0" fmla="*/ 2014 w 2017"/>
                  <a:gd name="T1" fmla="*/ 1216 h 2061"/>
                  <a:gd name="T2" fmla="*/ 1792 w 2017"/>
                  <a:gd name="T3" fmla="*/ 859 h 2061"/>
                  <a:gd name="T4" fmla="*/ 1373 w 2017"/>
                  <a:gd name="T5" fmla="*/ 127 h 2061"/>
                  <a:gd name="T6" fmla="*/ 1153 w 2017"/>
                  <a:gd name="T7" fmla="*/ 115 h 2061"/>
                  <a:gd name="T8" fmla="*/ 862 w 2017"/>
                  <a:gd name="T9" fmla="*/ 45 h 2061"/>
                  <a:gd name="T10" fmla="*/ 622 w 2017"/>
                  <a:gd name="T11" fmla="*/ 45 h 2061"/>
                  <a:gd name="T12" fmla="*/ 454 w 2017"/>
                  <a:gd name="T13" fmla="*/ 213 h 2061"/>
                  <a:gd name="T14" fmla="*/ 399 w 2017"/>
                  <a:gd name="T15" fmla="*/ 349 h 2061"/>
                  <a:gd name="T16" fmla="*/ 468 w 2017"/>
                  <a:gd name="T17" fmla="*/ 475 h 2061"/>
                  <a:gd name="T18" fmla="*/ 302 w 2017"/>
                  <a:gd name="T19" fmla="*/ 385 h 2061"/>
                  <a:gd name="T20" fmla="*/ 200 w 2017"/>
                  <a:gd name="T21" fmla="*/ 586 h 2061"/>
                  <a:gd name="T22" fmla="*/ 133 w 2017"/>
                  <a:gd name="T23" fmla="*/ 838 h 2061"/>
                  <a:gd name="T24" fmla="*/ 264 w 2017"/>
                  <a:gd name="T25" fmla="*/ 1501 h 2061"/>
                  <a:gd name="T26" fmla="*/ 661 w 2017"/>
                  <a:gd name="T27" fmla="*/ 1994 h 2061"/>
                  <a:gd name="T28" fmla="*/ 744 w 2017"/>
                  <a:gd name="T29" fmla="*/ 2009 h 2061"/>
                  <a:gd name="T30" fmla="*/ 1280 w 2017"/>
                  <a:gd name="T31" fmla="*/ 2039 h 2061"/>
                  <a:gd name="T32" fmla="*/ 1207 w 2017"/>
                  <a:gd name="T33" fmla="*/ 1730 h 2061"/>
                  <a:gd name="T34" fmla="*/ 1081 w 2017"/>
                  <a:gd name="T35" fmla="*/ 1326 h 2061"/>
                  <a:gd name="T36" fmla="*/ 1255 w 2017"/>
                  <a:gd name="T37" fmla="*/ 1410 h 2061"/>
                  <a:gd name="T38" fmla="*/ 1624 w 2017"/>
                  <a:gd name="T39" fmla="*/ 1611 h 2061"/>
                  <a:gd name="T40" fmla="*/ 1761 w 2017"/>
                  <a:gd name="T41" fmla="*/ 1036 h 2061"/>
                  <a:gd name="T42" fmla="*/ 90 w 2017"/>
                  <a:gd name="T43" fmla="*/ 983 h 2061"/>
                  <a:gd name="T44" fmla="*/ 180 w 2017"/>
                  <a:gd name="T45" fmla="*/ 934 h 2061"/>
                  <a:gd name="T46" fmla="*/ 325 w 2017"/>
                  <a:gd name="T47" fmla="*/ 1118 h 2061"/>
                  <a:gd name="T48" fmla="*/ 155 w 2017"/>
                  <a:gd name="T49" fmla="*/ 726 h 2061"/>
                  <a:gd name="T50" fmla="*/ 419 w 2017"/>
                  <a:gd name="T51" fmla="*/ 1039 h 2061"/>
                  <a:gd name="T52" fmla="*/ 482 w 2017"/>
                  <a:gd name="T53" fmla="*/ 1036 h 2061"/>
                  <a:gd name="T54" fmla="*/ 247 w 2017"/>
                  <a:gd name="T55" fmla="*/ 525 h 2061"/>
                  <a:gd name="T56" fmla="*/ 572 w 2017"/>
                  <a:gd name="T57" fmla="*/ 966 h 2061"/>
                  <a:gd name="T58" fmla="*/ 633 w 2017"/>
                  <a:gd name="T59" fmla="*/ 936 h 2061"/>
                  <a:gd name="T60" fmla="*/ 478 w 2017"/>
                  <a:gd name="T61" fmla="*/ 554 h 2061"/>
                  <a:gd name="T62" fmla="*/ 847 w 2017"/>
                  <a:gd name="T63" fmla="*/ 1142 h 2061"/>
                  <a:gd name="T64" fmla="*/ 912 w 2017"/>
                  <a:gd name="T65" fmla="*/ 778 h 2061"/>
                  <a:gd name="T66" fmla="*/ 963 w 2017"/>
                  <a:gd name="T67" fmla="*/ 727 h 2061"/>
                  <a:gd name="T68" fmla="*/ 1013 w 2017"/>
                  <a:gd name="T69" fmla="*/ 1326 h 2061"/>
                  <a:gd name="T70" fmla="*/ 325 w 2017"/>
                  <a:gd name="T71" fmla="*/ 1471 h 2061"/>
                  <a:gd name="T72" fmla="*/ 1155 w 2017"/>
                  <a:gd name="T73" fmla="*/ 1683 h 2061"/>
                  <a:gd name="T74" fmla="*/ 598 w 2017"/>
                  <a:gd name="T75" fmla="*/ 1890 h 2061"/>
                  <a:gd name="T76" fmla="*/ 1152 w 2017"/>
                  <a:gd name="T77" fmla="*/ 1616 h 2061"/>
                  <a:gd name="T78" fmla="*/ 962 w 2017"/>
                  <a:gd name="T79" fmla="*/ 659 h 2061"/>
                  <a:gd name="T80" fmla="*/ 627 w 2017"/>
                  <a:gd name="T81" fmla="*/ 531 h 2061"/>
                  <a:gd name="T82" fmla="*/ 467 w 2017"/>
                  <a:gd name="T83" fmla="*/ 349 h 2061"/>
                  <a:gd name="T84" fmla="*/ 833 w 2017"/>
                  <a:gd name="T85" fmla="*/ 593 h 2061"/>
                  <a:gd name="T86" fmla="*/ 602 w 2017"/>
                  <a:gd name="T87" fmla="*/ 265 h 2061"/>
                  <a:gd name="T88" fmla="*/ 502 w 2017"/>
                  <a:gd name="T89" fmla="*/ 93 h 2061"/>
                  <a:gd name="T90" fmla="*/ 987 w 2017"/>
                  <a:gd name="T91" fmla="*/ 483 h 2061"/>
                  <a:gd name="T92" fmla="*/ 742 w 2017"/>
                  <a:gd name="T93" fmla="*/ 165 h 2061"/>
                  <a:gd name="T94" fmla="*/ 742 w 2017"/>
                  <a:gd name="T95" fmla="*/ 93 h 2061"/>
                  <a:gd name="T96" fmla="*/ 1314 w 2017"/>
                  <a:gd name="T97" fmla="*/ 554 h 2061"/>
                  <a:gd name="T98" fmla="*/ 1215 w 2017"/>
                  <a:gd name="T99" fmla="*/ 145 h 2061"/>
                  <a:gd name="T100" fmla="*/ 1308 w 2017"/>
                  <a:gd name="T101" fmla="*/ 150 h 2061"/>
                  <a:gd name="T102" fmla="*/ 1269 w 2017"/>
                  <a:gd name="T103" fmla="*/ 1231 h 2061"/>
                  <a:gd name="T104" fmla="*/ 1294 w 2017"/>
                  <a:gd name="T105" fmla="*/ 1353 h 2061"/>
                  <a:gd name="T106" fmla="*/ 1726 w 2017"/>
                  <a:gd name="T107" fmla="*/ 896 h 2061"/>
                  <a:gd name="T108" fmla="*/ 1737 w 2017"/>
                  <a:gd name="T109" fmla="*/ 963 h 20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17" h="2061">
                    <a:moveTo>
                      <a:pt x="1957" y="1232"/>
                    </a:moveTo>
                    <a:cubicBezTo>
                      <a:pt x="1965" y="1240"/>
                      <a:pt x="1978" y="1244"/>
                      <a:pt x="1990" y="1241"/>
                    </a:cubicBezTo>
                    <a:cubicBezTo>
                      <a:pt x="2002" y="1238"/>
                      <a:pt x="2011" y="1228"/>
                      <a:pt x="2014" y="1216"/>
                    </a:cubicBezTo>
                    <a:cubicBezTo>
                      <a:pt x="2017" y="1205"/>
                      <a:pt x="2014" y="1192"/>
                      <a:pt x="2005" y="1183"/>
                    </a:cubicBezTo>
                    <a:cubicBezTo>
                      <a:pt x="1806" y="985"/>
                      <a:pt x="1806" y="985"/>
                      <a:pt x="1806" y="985"/>
                    </a:cubicBezTo>
                    <a:cubicBezTo>
                      <a:pt x="1830" y="944"/>
                      <a:pt x="1824" y="893"/>
                      <a:pt x="1792" y="859"/>
                    </a:cubicBezTo>
                    <a:cubicBezTo>
                      <a:pt x="1759" y="825"/>
                      <a:pt x="1708" y="817"/>
                      <a:pt x="1666" y="840"/>
                    </a:cubicBezTo>
                    <a:cubicBezTo>
                      <a:pt x="1617" y="782"/>
                      <a:pt x="1579" y="716"/>
                      <a:pt x="1554" y="644"/>
                    </a:cubicBezTo>
                    <a:cubicBezTo>
                      <a:pt x="1373" y="127"/>
                      <a:pt x="1373" y="127"/>
                      <a:pt x="1373" y="127"/>
                    </a:cubicBezTo>
                    <a:cubicBezTo>
                      <a:pt x="1362" y="98"/>
                      <a:pt x="1340" y="73"/>
                      <a:pt x="1312" y="59"/>
                    </a:cubicBezTo>
                    <a:cubicBezTo>
                      <a:pt x="1284" y="46"/>
                      <a:pt x="1251" y="44"/>
                      <a:pt x="1221" y="54"/>
                    </a:cubicBezTo>
                    <a:cubicBezTo>
                      <a:pt x="1191" y="65"/>
                      <a:pt x="1167" y="87"/>
                      <a:pt x="1153" y="115"/>
                    </a:cubicBezTo>
                    <a:cubicBezTo>
                      <a:pt x="1140" y="143"/>
                      <a:pt x="1138" y="176"/>
                      <a:pt x="1148" y="206"/>
                    </a:cubicBezTo>
                    <a:cubicBezTo>
                      <a:pt x="1215" y="395"/>
                      <a:pt x="1215" y="395"/>
                      <a:pt x="1215" y="395"/>
                    </a:cubicBezTo>
                    <a:cubicBezTo>
                      <a:pt x="862" y="45"/>
                      <a:pt x="862" y="45"/>
                      <a:pt x="862" y="45"/>
                    </a:cubicBezTo>
                    <a:cubicBezTo>
                      <a:pt x="815" y="0"/>
                      <a:pt x="741" y="0"/>
                      <a:pt x="694" y="45"/>
                    </a:cubicBezTo>
                    <a:cubicBezTo>
                      <a:pt x="681" y="57"/>
                      <a:pt x="672" y="73"/>
                      <a:pt x="666" y="89"/>
                    </a:cubicBezTo>
                    <a:cubicBezTo>
                      <a:pt x="622" y="45"/>
                      <a:pt x="622" y="45"/>
                      <a:pt x="622" y="45"/>
                    </a:cubicBezTo>
                    <a:cubicBezTo>
                      <a:pt x="575" y="0"/>
                      <a:pt x="501" y="0"/>
                      <a:pt x="454" y="45"/>
                    </a:cubicBezTo>
                    <a:cubicBezTo>
                      <a:pt x="431" y="67"/>
                      <a:pt x="419" y="97"/>
                      <a:pt x="419" y="129"/>
                    </a:cubicBezTo>
                    <a:cubicBezTo>
                      <a:pt x="419" y="161"/>
                      <a:pt x="431" y="191"/>
                      <a:pt x="454" y="213"/>
                    </a:cubicBezTo>
                    <a:cubicBezTo>
                      <a:pt x="478" y="238"/>
                      <a:pt x="478" y="238"/>
                      <a:pt x="478" y="238"/>
                    </a:cubicBezTo>
                    <a:cubicBezTo>
                      <a:pt x="462" y="243"/>
                      <a:pt x="446" y="253"/>
                      <a:pt x="434" y="265"/>
                    </a:cubicBezTo>
                    <a:cubicBezTo>
                      <a:pt x="411" y="287"/>
                      <a:pt x="399" y="318"/>
                      <a:pt x="399" y="349"/>
                    </a:cubicBezTo>
                    <a:cubicBezTo>
                      <a:pt x="399" y="381"/>
                      <a:pt x="411" y="411"/>
                      <a:pt x="434" y="433"/>
                    </a:cubicBezTo>
                    <a:cubicBezTo>
                      <a:pt x="474" y="473"/>
                      <a:pt x="474" y="473"/>
                      <a:pt x="474" y="473"/>
                    </a:cubicBezTo>
                    <a:cubicBezTo>
                      <a:pt x="472" y="474"/>
                      <a:pt x="470" y="474"/>
                      <a:pt x="468" y="475"/>
                    </a:cubicBezTo>
                    <a:cubicBezTo>
                      <a:pt x="452" y="483"/>
                      <a:pt x="438" y="494"/>
                      <a:pt x="427" y="508"/>
                    </a:cubicBezTo>
                    <a:cubicBezTo>
                      <a:pt x="400" y="452"/>
                      <a:pt x="400" y="452"/>
                      <a:pt x="400" y="452"/>
                    </a:cubicBezTo>
                    <a:cubicBezTo>
                      <a:pt x="382" y="413"/>
                      <a:pt x="344" y="388"/>
                      <a:pt x="302" y="385"/>
                    </a:cubicBezTo>
                    <a:cubicBezTo>
                      <a:pt x="259" y="381"/>
                      <a:pt x="218" y="401"/>
                      <a:pt x="194" y="436"/>
                    </a:cubicBezTo>
                    <a:cubicBezTo>
                      <a:pt x="171" y="471"/>
                      <a:pt x="167" y="517"/>
                      <a:pt x="186" y="555"/>
                    </a:cubicBezTo>
                    <a:cubicBezTo>
                      <a:pt x="200" y="586"/>
                      <a:pt x="200" y="586"/>
                      <a:pt x="200" y="586"/>
                    </a:cubicBezTo>
                    <a:cubicBezTo>
                      <a:pt x="160" y="586"/>
                      <a:pt x="122" y="607"/>
                      <a:pt x="100" y="641"/>
                    </a:cubicBezTo>
                    <a:cubicBezTo>
                      <a:pt x="78" y="676"/>
                      <a:pt x="76" y="719"/>
                      <a:pt x="94" y="756"/>
                    </a:cubicBezTo>
                    <a:cubicBezTo>
                      <a:pt x="133" y="838"/>
                      <a:pt x="133" y="838"/>
                      <a:pt x="133" y="838"/>
                    </a:cubicBezTo>
                    <a:cubicBezTo>
                      <a:pt x="113" y="838"/>
                      <a:pt x="93" y="843"/>
                      <a:pt x="75" y="853"/>
                    </a:cubicBezTo>
                    <a:cubicBezTo>
                      <a:pt x="20" y="886"/>
                      <a:pt x="0" y="955"/>
                      <a:pt x="29" y="1012"/>
                    </a:cubicBezTo>
                    <a:cubicBezTo>
                      <a:pt x="264" y="1501"/>
                      <a:pt x="264" y="1501"/>
                      <a:pt x="264" y="1501"/>
                    </a:cubicBezTo>
                    <a:cubicBezTo>
                      <a:pt x="328" y="1635"/>
                      <a:pt x="429" y="1747"/>
                      <a:pt x="555" y="1826"/>
                    </a:cubicBezTo>
                    <a:cubicBezTo>
                      <a:pt x="525" y="1861"/>
                      <a:pt x="521" y="1911"/>
                      <a:pt x="546" y="1950"/>
                    </a:cubicBezTo>
                    <a:cubicBezTo>
                      <a:pt x="570" y="1988"/>
                      <a:pt x="617" y="2006"/>
                      <a:pt x="661" y="1994"/>
                    </a:cubicBezTo>
                    <a:cubicBezTo>
                      <a:pt x="683" y="2039"/>
                      <a:pt x="683" y="2039"/>
                      <a:pt x="683" y="2039"/>
                    </a:cubicBezTo>
                    <a:cubicBezTo>
                      <a:pt x="691" y="2055"/>
                      <a:pt x="711" y="2061"/>
                      <a:pt x="728" y="2053"/>
                    </a:cubicBezTo>
                    <a:cubicBezTo>
                      <a:pt x="744" y="2045"/>
                      <a:pt x="752" y="2026"/>
                      <a:pt x="744" y="2009"/>
                    </a:cubicBezTo>
                    <a:cubicBezTo>
                      <a:pt x="724" y="1967"/>
                      <a:pt x="724" y="1967"/>
                      <a:pt x="724" y="1967"/>
                    </a:cubicBezTo>
                    <a:cubicBezTo>
                      <a:pt x="1147" y="1763"/>
                      <a:pt x="1147" y="1763"/>
                      <a:pt x="1147" y="1763"/>
                    </a:cubicBezTo>
                    <a:cubicBezTo>
                      <a:pt x="1280" y="2039"/>
                      <a:pt x="1280" y="2039"/>
                      <a:pt x="1280" y="2039"/>
                    </a:cubicBezTo>
                    <a:cubicBezTo>
                      <a:pt x="1288" y="2055"/>
                      <a:pt x="1308" y="2061"/>
                      <a:pt x="1325" y="2053"/>
                    </a:cubicBezTo>
                    <a:cubicBezTo>
                      <a:pt x="1341" y="2045"/>
                      <a:pt x="1348" y="2026"/>
                      <a:pt x="1341" y="2009"/>
                    </a:cubicBezTo>
                    <a:cubicBezTo>
                      <a:pt x="1207" y="1730"/>
                      <a:pt x="1207" y="1730"/>
                      <a:pt x="1207" y="1730"/>
                    </a:cubicBezTo>
                    <a:cubicBezTo>
                      <a:pt x="1243" y="1700"/>
                      <a:pt x="1255" y="1649"/>
                      <a:pt x="1235" y="1606"/>
                    </a:cubicBezTo>
                    <a:cubicBezTo>
                      <a:pt x="1215" y="1564"/>
                      <a:pt x="1169" y="1539"/>
                      <a:pt x="1123" y="1547"/>
                    </a:cubicBezTo>
                    <a:cubicBezTo>
                      <a:pt x="1096" y="1477"/>
                      <a:pt x="1082" y="1401"/>
                      <a:pt x="1081" y="1326"/>
                    </a:cubicBezTo>
                    <a:cubicBezTo>
                      <a:pt x="1081" y="1244"/>
                      <a:pt x="1081" y="1244"/>
                      <a:pt x="1081" y="1244"/>
                    </a:cubicBezTo>
                    <a:cubicBezTo>
                      <a:pt x="1127" y="1264"/>
                      <a:pt x="1174" y="1280"/>
                      <a:pt x="1222" y="1291"/>
                    </a:cubicBezTo>
                    <a:cubicBezTo>
                      <a:pt x="1206" y="1333"/>
                      <a:pt x="1219" y="1382"/>
                      <a:pt x="1255" y="1410"/>
                    </a:cubicBezTo>
                    <a:cubicBezTo>
                      <a:pt x="1291" y="1438"/>
                      <a:pt x="1341" y="1440"/>
                      <a:pt x="1379" y="1414"/>
                    </a:cubicBezTo>
                    <a:cubicBezTo>
                      <a:pt x="1576" y="1612"/>
                      <a:pt x="1576" y="1612"/>
                      <a:pt x="1576" y="1612"/>
                    </a:cubicBezTo>
                    <a:cubicBezTo>
                      <a:pt x="1590" y="1625"/>
                      <a:pt x="1611" y="1624"/>
                      <a:pt x="1624" y="1611"/>
                    </a:cubicBezTo>
                    <a:cubicBezTo>
                      <a:pt x="1637" y="1598"/>
                      <a:pt x="1637" y="1577"/>
                      <a:pt x="1624" y="1563"/>
                    </a:cubicBezTo>
                    <a:cubicBezTo>
                      <a:pt x="1429" y="1367"/>
                      <a:pt x="1429" y="1367"/>
                      <a:pt x="1429" y="1367"/>
                    </a:cubicBezTo>
                    <a:cubicBezTo>
                      <a:pt x="1761" y="1036"/>
                      <a:pt x="1761" y="1036"/>
                      <a:pt x="1761" y="1036"/>
                    </a:cubicBezTo>
                    <a:lnTo>
                      <a:pt x="1957" y="1232"/>
                    </a:lnTo>
                    <a:close/>
                    <a:moveTo>
                      <a:pt x="325" y="1471"/>
                    </a:moveTo>
                    <a:cubicBezTo>
                      <a:pt x="90" y="983"/>
                      <a:pt x="90" y="983"/>
                      <a:pt x="90" y="983"/>
                    </a:cubicBezTo>
                    <a:cubicBezTo>
                      <a:pt x="78" y="958"/>
                      <a:pt x="85" y="928"/>
                      <a:pt x="109" y="912"/>
                    </a:cubicBezTo>
                    <a:cubicBezTo>
                      <a:pt x="121" y="905"/>
                      <a:pt x="135" y="904"/>
                      <a:pt x="149" y="908"/>
                    </a:cubicBezTo>
                    <a:cubicBezTo>
                      <a:pt x="162" y="912"/>
                      <a:pt x="174" y="922"/>
                      <a:pt x="180" y="934"/>
                    </a:cubicBezTo>
                    <a:cubicBezTo>
                      <a:pt x="265" y="1113"/>
                      <a:pt x="265" y="1113"/>
                      <a:pt x="265" y="1113"/>
                    </a:cubicBezTo>
                    <a:cubicBezTo>
                      <a:pt x="270" y="1125"/>
                      <a:pt x="281" y="1132"/>
                      <a:pt x="294" y="1134"/>
                    </a:cubicBezTo>
                    <a:cubicBezTo>
                      <a:pt x="306" y="1135"/>
                      <a:pt x="318" y="1129"/>
                      <a:pt x="325" y="1118"/>
                    </a:cubicBezTo>
                    <a:cubicBezTo>
                      <a:pt x="332" y="1108"/>
                      <a:pt x="333" y="1094"/>
                      <a:pt x="327" y="1083"/>
                    </a:cubicBezTo>
                    <a:cubicBezTo>
                      <a:pt x="241" y="905"/>
                      <a:pt x="241" y="905"/>
                      <a:pt x="241" y="905"/>
                    </a:cubicBezTo>
                    <a:cubicBezTo>
                      <a:pt x="155" y="726"/>
                      <a:pt x="155" y="726"/>
                      <a:pt x="155" y="726"/>
                    </a:cubicBezTo>
                    <a:cubicBezTo>
                      <a:pt x="143" y="701"/>
                      <a:pt x="154" y="671"/>
                      <a:pt x="179" y="659"/>
                    </a:cubicBezTo>
                    <a:cubicBezTo>
                      <a:pt x="204" y="647"/>
                      <a:pt x="235" y="657"/>
                      <a:pt x="247" y="682"/>
                    </a:cubicBezTo>
                    <a:cubicBezTo>
                      <a:pt x="419" y="1039"/>
                      <a:pt x="419" y="1039"/>
                      <a:pt x="419" y="1039"/>
                    </a:cubicBezTo>
                    <a:cubicBezTo>
                      <a:pt x="424" y="1051"/>
                      <a:pt x="436" y="1059"/>
                      <a:pt x="449" y="1059"/>
                    </a:cubicBezTo>
                    <a:cubicBezTo>
                      <a:pt x="454" y="1059"/>
                      <a:pt x="460" y="1058"/>
                      <a:pt x="464" y="1055"/>
                    </a:cubicBezTo>
                    <a:cubicBezTo>
                      <a:pt x="472" y="1051"/>
                      <a:pt x="479" y="1044"/>
                      <a:pt x="482" y="1036"/>
                    </a:cubicBezTo>
                    <a:cubicBezTo>
                      <a:pt x="485" y="1027"/>
                      <a:pt x="484" y="1018"/>
                      <a:pt x="480" y="1010"/>
                    </a:cubicBezTo>
                    <a:cubicBezTo>
                      <a:pt x="308" y="653"/>
                      <a:pt x="308" y="653"/>
                      <a:pt x="308" y="653"/>
                    </a:cubicBezTo>
                    <a:cubicBezTo>
                      <a:pt x="247" y="525"/>
                      <a:pt x="247" y="525"/>
                      <a:pt x="247" y="525"/>
                    </a:cubicBezTo>
                    <a:cubicBezTo>
                      <a:pt x="235" y="500"/>
                      <a:pt x="246" y="470"/>
                      <a:pt x="271" y="458"/>
                    </a:cubicBezTo>
                    <a:cubicBezTo>
                      <a:pt x="296" y="446"/>
                      <a:pt x="326" y="456"/>
                      <a:pt x="338" y="481"/>
                    </a:cubicBezTo>
                    <a:cubicBezTo>
                      <a:pt x="572" y="966"/>
                      <a:pt x="572" y="966"/>
                      <a:pt x="572" y="966"/>
                    </a:cubicBezTo>
                    <a:cubicBezTo>
                      <a:pt x="577" y="977"/>
                      <a:pt x="587" y="985"/>
                      <a:pt x="600" y="986"/>
                    </a:cubicBezTo>
                    <a:cubicBezTo>
                      <a:pt x="612" y="987"/>
                      <a:pt x="625" y="982"/>
                      <a:pt x="632" y="971"/>
                    </a:cubicBezTo>
                    <a:cubicBezTo>
                      <a:pt x="638" y="961"/>
                      <a:pt x="639" y="947"/>
                      <a:pt x="633" y="936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74" y="605"/>
                      <a:pt x="474" y="605"/>
                      <a:pt x="474" y="605"/>
                    </a:cubicBezTo>
                    <a:cubicBezTo>
                      <a:pt x="466" y="588"/>
                      <a:pt x="467" y="569"/>
                      <a:pt x="478" y="554"/>
                    </a:cubicBezTo>
                    <a:cubicBezTo>
                      <a:pt x="488" y="539"/>
                      <a:pt x="505" y="531"/>
                      <a:pt x="523" y="532"/>
                    </a:cubicBezTo>
                    <a:cubicBezTo>
                      <a:pt x="541" y="533"/>
                      <a:pt x="557" y="544"/>
                      <a:pt x="565" y="561"/>
                    </a:cubicBezTo>
                    <a:cubicBezTo>
                      <a:pt x="847" y="1142"/>
                      <a:pt x="847" y="1142"/>
                      <a:pt x="847" y="1142"/>
                    </a:cubicBezTo>
                    <a:cubicBezTo>
                      <a:pt x="854" y="1157"/>
                      <a:pt x="870" y="1164"/>
                      <a:pt x="885" y="1161"/>
                    </a:cubicBezTo>
                    <a:cubicBezTo>
                      <a:pt x="901" y="1157"/>
                      <a:pt x="912" y="1143"/>
                      <a:pt x="912" y="1128"/>
                    </a:cubicBezTo>
                    <a:cubicBezTo>
                      <a:pt x="912" y="778"/>
                      <a:pt x="912" y="778"/>
                      <a:pt x="912" y="778"/>
                    </a:cubicBezTo>
                    <a:cubicBezTo>
                      <a:pt x="912" y="764"/>
                      <a:pt x="917" y="751"/>
                      <a:pt x="927" y="742"/>
                    </a:cubicBezTo>
                    <a:cubicBezTo>
                      <a:pt x="936" y="732"/>
                      <a:pt x="949" y="727"/>
                      <a:pt x="962" y="727"/>
                    </a:cubicBezTo>
                    <a:cubicBezTo>
                      <a:pt x="963" y="727"/>
                      <a:pt x="963" y="727"/>
                      <a:pt x="963" y="727"/>
                    </a:cubicBezTo>
                    <a:cubicBezTo>
                      <a:pt x="976" y="727"/>
                      <a:pt x="989" y="733"/>
                      <a:pt x="998" y="742"/>
                    </a:cubicBezTo>
                    <a:cubicBezTo>
                      <a:pt x="1008" y="752"/>
                      <a:pt x="1013" y="765"/>
                      <a:pt x="1013" y="778"/>
                    </a:cubicBezTo>
                    <a:cubicBezTo>
                      <a:pt x="1013" y="1326"/>
                      <a:pt x="1013" y="1326"/>
                      <a:pt x="1013" y="1326"/>
                    </a:cubicBezTo>
                    <a:cubicBezTo>
                      <a:pt x="1014" y="1410"/>
                      <a:pt x="1029" y="1494"/>
                      <a:pt x="1060" y="1573"/>
                    </a:cubicBezTo>
                    <a:cubicBezTo>
                      <a:pt x="619" y="1785"/>
                      <a:pt x="619" y="1785"/>
                      <a:pt x="619" y="1785"/>
                    </a:cubicBezTo>
                    <a:cubicBezTo>
                      <a:pt x="491" y="1713"/>
                      <a:pt x="389" y="1603"/>
                      <a:pt x="325" y="1471"/>
                    </a:cubicBezTo>
                    <a:close/>
                    <a:moveTo>
                      <a:pt x="1152" y="1616"/>
                    </a:moveTo>
                    <a:cubicBezTo>
                      <a:pt x="1166" y="1621"/>
                      <a:pt x="1175" y="1634"/>
                      <a:pt x="1176" y="1648"/>
                    </a:cubicBezTo>
                    <a:cubicBezTo>
                      <a:pt x="1177" y="1663"/>
                      <a:pt x="1169" y="1677"/>
                      <a:pt x="1155" y="1683"/>
                    </a:cubicBezTo>
                    <a:cubicBezTo>
                      <a:pt x="651" y="1926"/>
                      <a:pt x="651" y="1926"/>
                      <a:pt x="651" y="1926"/>
                    </a:cubicBezTo>
                    <a:cubicBezTo>
                      <a:pt x="639" y="1932"/>
                      <a:pt x="625" y="1931"/>
                      <a:pt x="614" y="1924"/>
                    </a:cubicBezTo>
                    <a:cubicBezTo>
                      <a:pt x="603" y="1917"/>
                      <a:pt x="597" y="1904"/>
                      <a:pt x="598" y="1890"/>
                    </a:cubicBezTo>
                    <a:cubicBezTo>
                      <a:pt x="599" y="1877"/>
                      <a:pt x="607" y="1865"/>
                      <a:pt x="619" y="1860"/>
                    </a:cubicBezTo>
                    <a:cubicBezTo>
                      <a:pt x="1124" y="1617"/>
                      <a:pt x="1124" y="1617"/>
                      <a:pt x="1124" y="1617"/>
                    </a:cubicBezTo>
                    <a:cubicBezTo>
                      <a:pt x="1133" y="1613"/>
                      <a:pt x="1143" y="1613"/>
                      <a:pt x="1152" y="1616"/>
                    </a:cubicBezTo>
                    <a:close/>
                    <a:moveTo>
                      <a:pt x="1081" y="778"/>
                    </a:moveTo>
                    <a:cubicBezTo>
                      <a:pt x="1081" y="712"/>
                      <a:pt x="1028" y="659"/>
                      <a:pt x="963" y="659"/>
                    </a:cubicBezTo>
                    <a:cubicBezTo>
                      <a:pt x="962" y="659"/>
                      <a:pt x="962" y="659"/>
                      <a:pt x="962" y="659"/>
                    </a:cubicBezTo>
                    <a:cubicBezTo>
                      <a:pt x="897" y="659"/>
                      <a:pt x="843" y="712"/>
                      <a:pt x="843" y="778"/>
                    </a:cubicBezTo>
                    <a:cubicBezTo>
                      <a:pt x="843" y="979"/>
                      <a:pt x="843" y="979"/>
                      <a:pt x="843" y="979"/>
                    </a:cubicBezTo>
                    <a:cubicBezTo>
                      <a:pt x="627" y="531"/>
                      <a:pt x="627" y="531"/>
                      <a:pt x="627" y="531"/>
                    </a:cubicBezTo>
                    <a:cubicBezTo>
                      <a:pt x="615" y="508"/>
                      <a:pt x="597" y="489"/>
                      <a:pt x="574" y="477"/>
                    </a:cubicBezTo>
                    <a:cubicBezTo>
                      <a:pt x="482" y="385"/>
                      <a:pt x="482" y="385"/>
                      <a:pt x="482" y="385"/>
                    </a:cubicBezTo>
                    <a:cubicBezTo>
                      <a:pt x="472" y="375"/>
                      <a:pt x="467" y="363"/>
                      <a:pt x="467" y="349"/>
                    </a:cubicBezTo>
                    <a:cubicBezTo>
                      <a:pt x="467" y="336"/>
                      <a:pt x="472" y="323"/>
                      <a:pt x="482" y="313"/>
                    </a:cubicBezTo>
                    <a:cubicBezTo>
                      <a:pt x="502" y="294"/>
                      <a:pt x="533" y="294"/>
                      <a:pt x="553" y="313"/>
                    </a:cubicBezTo>
                    <a:cubicBezTo>
                      <a:pt x="833" y="593"/>
                      <a:pt x="833" y="593"/>
                      <a:pt x="833" y="593"/>
                    </a:cubicBezTo>
                    <a:cubicBezTo>
                      <a:pt x="847" y="607"/>
                      <a:pt x="868" y="607"/>
                      <a:pt x="882" y="593"/>
                    </a:cubicBezTo>
                    <a:cubicBezTo>
                      <a:pt x="895" y="580"/>
                      <a:pt x="895" y="558"/>
                      <a:pt x="882" y="545"/>
                    </a:cubicBezTo>
                    <a:cubicBezTo>
                      <a:pt x="602" y="265"/>
                      <a:pt x="602" y="265"/>
                      <a:pt x="602" y="265"/>
                    </a:cubicBezTo>
                    <a:cubicBezTo>
                      <a:pt x="502" y="165"/>
                      <a:pt x="502" y="165"/>
                      <a:pt x="502" y="165"/>
                    </a:cubicBezTo>
                    <a:cubicBezTo>
                      <a:pt x="492" y="155"/>
                      <a:pt x="487" y="143"/>
                      <a:pt x="487" y="129"/>
                    </a:cubicBezTo>
                    <a:cubicBezTo>
                      <a:pt x="487" y="116"/>
                      <a:pt x="492" y="103"/>
                      <a:pt x="502" y="93"/>
                    </a:cubicBezTo>
                    <a:cubicBezTo>
                      <a:pt x="522" y="74"/>
                      <a:pt x="553" y="74"/>
                      <a:pt x="573" y="93"/>
                    </a:cubicBezTo>
                    <a:cubicBezTo>
                      <a:pt x="954" y="473"/>
                      <a:pt x="954" y="473"/>
                      <a:pt x="954" y="473"/>
                    </a:cubicBezTo>
                    <a:cubicBezTo>
                      <a:pt x="962" y="482"/>
                      <a:pt x="975" y="486"/>
                      <a:pt x="987" y="483"/>
                    </a:cubicBezTo>
                    <a:cubicBezTo>
                      <a:pt x="999" y="480"/>
                      <a:pt x="1008" y="470"/>
                      <a:pt x="1011" y="458"/>
                    </a:cubicBezTo>
                    <a:cubicBezTo>
                      <a:pt x="1015" y="446"/>
                      <a:pt x="1011" y="434"/>
                      <a:pt x="1002" y="42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42" y="165"/>
                      <a:pt x="742" y="165"/>
                      <a:pt x="742" y="165"/>
                    </a:cubicBezTo>
                    <a:cubicBezTo>
                      <a:pt x="733" y="155"/>
                      <a:pt x="727" y="142"/>
                      <a:pt x="727" y="129"/>
                    </a:cubicBezTo>
                    <a:cubicBezTo>
                      <a:pt x="727" y="116"/>
                      <a:pt x="733" y="103"/>
                      <a:pt x="742" y="93"/>
                    </a:cubicBezTo>
                    <a:cubicBezTo>
                      <a:pt x="762" y="74"/>
                      <a:pt x="794" y="74"/>
                      <a:pt x="814" y="93"/>
                    </a:cubicBezTo>
                    <a:cubicBezTo>
                      <a:pt x="1272" y="549"/>
                      <a:pt x="1272" y="549"/>
                      <a:pt x="1272" y="549"/>
                    </a:cubicBezTo>
                    <a:cubicBezTo>
                      <a:pt x="1283" y="560"/>
                      <a:pt x="1301" y="562"/>
                      <a:pt x="1314" y="554"/>
                    </a:cubicBezTo>
                    <a:cubicBezTo>
                      <a:pt x="1328" y="545"/>
                      <a:pt x="1334" y="528"/>
                      <a:pt x="1328" y="513"/>
                    </a:cubicBezTo>
                    <a:cubicBezTo>
                      <a:pt x="1212" y="183"/>
                      <a:pt x="1212" y="183"/>
                      <a:pt x="1212" y="183"/>
                    </a:cubicBezTo>
                    <a:cubicBezTo>
                      <a:pt x="1208" y="171"/>
                      <a:pt x="1209" y="157"/>
                      <a:pt x="1215" y="145"/>
                    </a:cubicBezTo>
                    <a:cubicBezTo>
                      <a:pt x="1222" y="130"/>
                      <a:pt x="1236" y="120"/>
                      <a:pt x="1252" y="117"/>
                    </a:cubicBezTo>
                    <a:cubicBezTo>
                      <a:pt x="1268" y="114"/>
                      <a:pt x="1285" y="119"/>
                      <a:pt x="1296" y="131"/>
                    </a:cubicBezTo>
                    <a:cubicBezTo>
                      <a:pt x="1302" y="136"/>
                      <a:pt x="1306" y="143"/>
                      <a:pt x="1308" y="150"/>
                    </a:cubicBezTo>
                    <a:cubicBezTo>
                      <a:pt x="1490" y="667"/>
                      <a:pt x="1490" y="667"/>
                      <a:pt x="1490" y="667"/>
                    </a:cubicBezTo>
                    <a:cubicBezTo>
                      <a:pt x="1518" y="747"/>
                      <a:pt x="1560" y="820"/>
                      <a:pt x="1615" y="885"/>
                    </a:cubicBezTo>
                    <a:cubicBezTo>
                      <a:pt x="1269" y="1231"/>
                      <a:pt x="1269" y="1231"/>
                      <a:pt x="1269" y="1231"/>
                    </a:cubicBezTo>
                    <a:cubicBezTo>
                      <a:pt x="1204" y="1219"/>
                      <a:pt x="1141" y="1198"/>
                      <a:pt x="1082" y="1169"/>
                    </a:cubicBezTo>
                    <a:lnTo>
                      <a:pt x="1081" y="778"/>
                    </a:lnTo>
                    <a:close/>
                    <a:moveTo>
                      <a:pt x="1294" y="1353"/>
                    </a:moveTo>
                    <a:cubicBezTo>
                      <a:pt x="1280" y="1339"/>
                      <a:pt x="1280" y="1316"/>
                      <a:pt x="1294" y="1302"/>
                    </a:cubicBezTo>
                    <a:cubicBezTo>
                      <a:pt x="1690" y="906"/>
                      <a:pt x="1690" y="906"/>
                      <a:pt x="1690" y="906"/>
                    </a:cubicBezTo>
                    <a:cubicBezTo>
                      <a:pt x="1700" y="896"/>
                      <a:pt x="1713" y="892"/>
                      <a:pt x="1726" y="896"/>
                    </a:cubicBezTo>
                    <a:cubicBezTo>
                      <a:pt x="1739" y="899"/>
                      <a:pt x="1749" y="909"/>
                      <a:pt x="1752" y="922"/>
                    </a:cubicBezTo>
                    <a:cubicBezTo>
                      <a:pt x="1756" y="935"/>
                      <a:pt x="1752" y="948"/>
                      <a:pt x="1742" y="958"/>
                    </a:cubicBezTo>
                    <a:cubicBezTo>
                      <a:pt x="1737" y="963"/>
                      <a:pt x="1737" y="963"/>
                      <a:pt x="1737" y="963"/>
                    </a:cubicBezTo>
                    <a:cubicBezTo>
                      <a:pt x="1346" y="1353"/>
                      <a:pt x="1346" y="1353"/>
                      <a:pt x="1346" y="1353"/>
                    </a:cubicBezTo>
                    <a:cubicBezTo>
                      <a:pt x="1332" y="1368"/>
                      <a:pt x="1309" y="1368"/>
                      <a:pt x="1294" y="13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xmlns="" id="{BDE4F502-C5AB-4771-A587-EF82AE090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207"/>
                <a:ext cx="30" cy="33"/>
              </a:xfrm>
              <a:custGeom>
                <a:avLst/>
                <a:gdLst>
                  <a:gd name="T0" fmla="*/ 264 w 271"/>
                  <a:gd name="T1" fmla="*/ 292 h 307"/>
                  <a:gd name="T2" fmla="*/ 270 w 271"/>
                  <a:gd name="T3" fmla="*/ 266 h 307"/>
                  <a:gd name="T4" fmla="*/ 256 w 271"/>
                  <a:gd name="T5" fmla="*/ 244 h 307"/>
                  <a:gd name="T6" fmla="*/ 68 w 271"/>
                  <a:gd name="T7" fmla="*/ 22 h 307"/>
                  <a:gd name="T8" fmla="*/ 24 w 271"/>
                  <a:gd name="T9" fmla="*/ 8 h 307"/>
                  <a:gd name="T10" fmla="*/ 7 w 271"/>
                  <a:gd name="T11" fmla="*/ 52 h 307"/>
                  <a:gd name="T12" fmla="*/ 216 w 271"/>
                  <a:gd name="T13" fmla="*/ 300 h 307"/>
                  <a:gd name="T14" fmla="*/ 242 w 271"/>
                  <a:gd name="T15" fmla="*/ 306 h 307"/>
                  <a:gd name="T16" fmla="*/ 264 w 271"/>
                  <a:gd name="T17" fmla="*/ 29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1" h="307">
                    <a:moveTo>
                      <a:pt x="264" y="292"/>
                    </a:moveTo>
                    <a:cubicBezTo>
                      <a:pt x="269" y="284"/>
                      <a:pt x="271" y="275"/>
                      <a:pt x="270" y="266"/>
                    </a:cubicBezTo>
                    <a:cubicBezTo>
                      <a:pt x="268" y="257"/>
                      <a:pt x="263" y="249"/>
                      <a:pt x="256" y="244"/>
                    </a:cubicBezTo>
                    <a:cubicBezTo>
                      <a:pt x="175" y="188"/>
                      <a:pt x="111" y="111"/>
                      <a:pt x="68" y="22"/>
                    </a:cubicBezTo>
                    <a:cubicBezTo>
                      <a:pt x="60" y="6"/>
                      <a:pt x="40" y="0"/>
                      <a:pt x="24" y="8"/>
                    </a:cubicBezTo>
                    <a:cubicBezTo>
                      <a:pt x="7" y="16"/>
                      <a:pt x="0" y="35"/>
                      <a:pt x="7" y="52"/>
                    </a:cubicBezTo>
                    <a:cubicBezTo>
                      <a:pt x="55" y="151"/>
                      <a:pt x="127" y="236"/>
                      <a:pt x="216" y="300"/>
                    </a:cubicBezTo>
                    <a:cubicBezTo>
                      <a:pt x="224" y="305"/>
                      <a:pt x="233" y="307"/>
                      <a:pt x="242" y="306"/>
                    </a:cubicBezTo>
                    <a:cubicBezTo>
                      <a:pt x="251" y="304"/>
                      <a:pt x="259" y="299"/>
                      <a:pt x="264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grpSp>
          <p:nvGrpSpPr>
            <p:cNvPr id="162" name="Group 9">
              <a:extLst>
                <a:ext uri="{FF2B5EF4-FFF2-40B4-BE49-F238E27FC236}">
                  <a16:creationId xmlns:a16="http://schemas.microsoft.com/office/drawing/2014/main" xmlns="" id="{4389562E-2E56-4309-B16E-63B46A6A6B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2918" y="2224675"/>
              <a:ext cx="301228" cy="295275"/>
              <a:chOff x="5121" y="1401"/>
              <a:chExt cx="253" cy="186"/>
            </a:xfrm>
            <a:solidFill>
              <a:schemeClr val="bg1"/>
            </a:solidFill>
          </p:grpSpPr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xmlns="" id="{CD8626C9-F997-487D-BCE9-1381C0F28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98"/>
                <a:ext cx="119" cy="17"/>
              </a:xfrm>
              <a:custGeom>
                <a:avLst/>
                <a:gdLst>
                  <a:gd name="T0" fmla="*/ 28 w 962"/>
                  <a:gd name="T1" fmla="*/ 71 h 140"/>
                  <a:gd name="T2" fmla="*/ 482 w 962"/>
                  <a:gd name="T3" fmla="*/ 140 h 140"/>
                  <a:gd name="T4" fmla="*/ 936 w 962"/>
                  <a:gd name="T5" fmla="*/ 71 h 140"/>
                  <a:gd name="T6" fmla="*/ 959 w 962"/>
                  <a:gd name="T7" fmla="*/ 46 h 140"/>
                  <a:gd name="T8" fmla="*/ 949 w 962"/>
                  <a:gd name="T9" fmla="*/ 13 h 140"/>
                  <a:gd name="T10" fmla="*/ 916 w 962"/>
                  <a:gd name="T11" fmla="*/ 6 h 140"/>
                  <a:gd name="T12" fmla="*/ 49 w 962"/>
                  <a:gd name="T13" fmla="*/ 6 h 140"/>
                  <a:gd name="T14" fmla="*/ 6 w 962"/>
                  <a:gd name="T15" fmla="*/ 28 h 140"/>
                  <a:gd name="T16" fmla="*/ 28 w 962"/>
                  <a:gd name="T17" fmla="*/ 7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140">
                    <a:moveTo>
                      <a:pt x="28" y="71"/>
                    </a:moveTo>
                    <a:cubicBezTo>
                      <a:pt x="175" y="117"/>
                      <a:pt x="328" y="140"/>
                      <a:pt x="482" y="140"/>
                    </a:cubicBezTo>
                    <a:cubicBezTo>
                      <a:pt x="636" y="140"/>
                      <a:pt x="789" y="117"/>
                      <a:pt x="936" y="71"/>
                    </a:cubicBezTo>
                    <a:cubicBezTo>
                      <a:pt x="948" y="67"/>
                      <a:pt x="956" y="58"/>
                      <a:pt x="959" y="46"/>
                    </a:cubicBezTo>
                    <a:cubicBezTo>
                      <a:pt x="962" y="34"/>
                      <a:pt x="958" y="21"/>
                      <a:pt x="949" y="13"/>
                    </a:cubicBezTo>
                    <a:cubicBezTo>
                      <a:pt x="940" y="5"/>
                      <a:pt x="927" y="2"/>
                      <a:pt x="916" y="6"/>
                    </a:cubicBezTo>
                    <a:cubicBezTo>
                      <a:pt x="633" y="94"/>
                      <a:pt x="331" y="94"/>
                      <a:pt x="49" y="6"/>
                    </a:cubicBezTo>
                    <a:cubicBezTo>
                      <a:pt x="31" y="0"/>
                      <a:pt x="11" y="10"/>
                      <a:pt x="6" y="28"/>
                    </a:cubicBezTo>
                    <a:cubicBezTo>
                      <a:pt x="0" y="46"/>
                      <a:pt x="10" y="65"/>
                      <a:pt x="28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xmlns="" id="{D4D4496D-409E-41FE-9B67-BD35B30AF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473"/>
                <a:ext cx="119" cy="13"/>
              </a:xfrm>
              <a:custGeom>
                <a:avLst/>
                <a:gdLst>
                  <a:gd name="T0" fmla="*/ 31 w 960"/>
                  <a:gd name="T1" fmla="*/ 70 h 105"/>
                  <a:gd name="T2" fmla="*/ 480 w 960"/>
                  <a:gd name="T3" fmla="*/ 105 h 105"/>
                  <a:gd name="T4" fmla="*/ 929 w 960"/>
                  <a:gd name="T5" fmla="*/ 70 h 105"/>
                  <a:gd name="T6" fmla="*/ 956 w 960"/>
                  <a:gd name="T7" fmla="*/ 49 h 105"/>
                  <a:gd name="T8" fmla="*/ 951 w 960"/>
                  <a:gd name="T9" fmla="*/ 15 h 105"/>
                  <a:gd name="T10" fmla="*/ 918 w 960"/>
                  <a:gd name="T11" fmla="*/ 3 h 105"/>
                  <a:gd name="T12" fmla="*/ 42 w 960"/>
                  <a:gd name="T13" fmla="*/ 3 h 105"/>
                  <a:gd name="T14" fmla="*/ 3 w 960"/>
                  <a:gd name="T15" fmla="*/ 31 h 105"/>
                  <a:gd name="T16" fmla="*/ 31 w 960"/>
                  <a:gd name="T17" fmla="*/ 7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105">
                    <a:moveTo>
                      <a:pt x="31" y="70"/>
                    </a:moveTo>
                    <a:cubicBezTo>
                      <a:pt x="180" y="93"/>
                      <a:pt x="330" y="105"/>
                      <a:pt x="480" y="105"/>
                    </a:cubicBezTo>
                    <a:cubicBezTo>
                      <a:pt x="630" y="105"/>
                      <a:pt x="780" y="93"/>
                      <a:pt x="929" y="70"/>
                    </a:cubicBezTo>
                    <a:cubicBezTo>
                      <a:pt x="941" y="68"/>
                      <a:pt x="951" y="60"/>
                      <a:pt x="956" y="49"/>
                    </a:cubicBezTo>
                    <a:cubicBezTo>
                      <a:pt x="960" y="37"/>
                      <a:pt x="958" y="24"/>
                      <a:pt x="951" y="15"/>
                    </a:cubicBezTo>
                    <a:cubicBezTo>
                      <a:pt x="943" y="5"/>
                      <a:pt x="931" y="1"/>
                      <a:pt x="918" y="3"/>
                    </a:cubicBezTo>
                    <a:cubicBezTo>
                      <a:pt x="628" y="47"/>
                      <a:pt x="332" y="47"/>
                      <a:pt x="42" y="3"/>
                    </a:cubicBezTo>
                    <a:cubicBezTo>
                      <a:pt x="23" y="0"/>
                      <a:pt x="6" y="13"/>
                      <a:pt x="3" y="31"/>
                    </a:cubicBezTo>
                    <a:cubicBezTo>
                      <a:pt x="0" y="50"/>
                      <a:pt x="13" y="67"/>
                      <a:pt x="31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xmlns="" id="{E926905F-89C2-4766-9DFB-62C229B06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8" y="1528"/>
                <a:ext cx="119" cy="25"/>
              </a:xfrm>
              <a:custGeom>
                <a:avLst/>
                <a:gdLst>
                  <a:gd name="T0" fmla="*/ 910 w 962"/>
                  <a:gd name="T1" fmla="*/ 6 h 209"/>
                  <a:gd name="T2" fmla="*/ 52 w 962"/>
                  <a:gd name="T3" fmla="*/ 6 h 209"/>
                  <a:gd name="T4" fmla="*/ 17 w 962"/>
                  <a:gd name="T5" fmla="*/ 8 h 209"/>
                  <a:gd name="T6" fmla="*/ 1 w 962"/>
                  <a:gd name="T7" fmla="*/ 40 h 209"/>
                  <a:gd name="T8" fmla="*/ 23 w 962"/>
                  <a:gd name="T9" fmla="*/ 68 h 209"/>
                  <a:gd name="T10" fmla="*/ 939 w 962"/>
                  <a:gd name="T11" fmla="*/ 68 h 209"/>
                  <a:gd name="T12" fmla="*/ 961 w 962"/>
                  <a:gd name="T13" fmla="*/ 40 h 209"/>
                  <a:gd name="T14" fmla="*/ 945 w 962"/>
                  <a:gd name="T15" fmla="*/ 8 h 209"/>
                  <a:gd name="T16" fmla="*/ 910 w 962"/>
                  <a:gd name="T17" fmla="*/ 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2" h="209">
                    <a:moveTo>
                      <a:pt x="910" y="6"/>
                    </a:moveTo>
                    <a:cubicBezTo>
                      <a:pt x="639" y="139"/>
                      <a:pt x="323" y="139"/>
                      <a:pt x="52" y="6"/>
                    </a:cubicBezTo>
                    <a:cubicBezTo>
                      <a:pt x="41" y="0"/>
                      <a:pt x="27" y="1"/>
                      <a:pt x="17" y="8"/>
                    </a:cubicBezTo>
                    <a:cubicBezTo>
                      <a:pt x="6" y="15"/>
                      <a:pt x="0" y="27"/>
                      <a:pt x="1" y="40"/>
                    </a:cubicBezTo>
                    <a:cubicBezTo>
                      <a:pt x="3" y="52"/>
                      <a:pt x="11" y="63"/>
                      <a:pt x="23" y="68"/>
                    </a:cubicBezTo>
                    <a:cubicBezTo>
                      <a:pt x="312" y="209"/>
                      <a:pt x="650" y="209"/>
                      <a:pt x="939" y="68"/>
                    </a:cubicBezTo>
                    <a:cubicBezTo>
                      <a:pt x="951" y="63"/>
                      <a:pt x="959" y="52"/>
                      <a:pt x="961" y="40"/>
                    </a:cubicBezTo>
                    <a:cubicBezTo>
                      <a:pt x="962" y="27"/>
                      <a:pt x="956" y="15"/>
                      <a:pt x="945" y="8"/>
                    </a:cubicBezTo>
                    <a:cubicBezTo>
                      <a:pt x="935" y="1"/>
                      <a:pt x="921" y="0"/>
                      <a:pt x="9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xmlns="" id="{147AEB25-1C3C-4AEB-A965-5534491391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" y="1401"/>
                <a:ext cx="253" cy="186"/>
              </a:xfrm>
              <a:custGeom>
                <a:avLst/>
                <a:gdLst>
                  <a:gd name="T0" fmla="*/ 1735 w 2048"/>
                  <a:gd name="T1" fmla="*/ 341 h 1503"/>
                  <a:gd name="T2" fmla="*/ 1587 w 2048"/>
                  <a:gd name="T3" fmla="*/ 273 h 1503"/>
                  <a:gd name="T4" fmla="*/ 1024 w 2048"/>
                  <a:gd name="T5" fmla="*/ 0 h 1503"/>
                  <a:gd name="T6" fmla="*/ 461 w 2048"/>
                  <a:gd name="T7" fmla="*/ 273 h 1503"/>
                  <a:gd name="T8" fmla="*/ 313 w 2048"/>
                  <a:gd name="T9" fmla="*/ 341 h 1503"/>
                  <a:gd name="T10" fmla="*/ 0 w 2048"/>
                  <a:gd name="T11" fmla="*/ 478 h 1503"/>
                  <a:gd name="T12" fmla="*/ 356 w 2048"/>
                  <a:gd name="T13" fmla="*/ 1020 h 1503"/>
                  <a:gd name="T14" fmla="*/ 1080 w 2048"/>
                  <a:gd name="T15" fmla="*/ 1499 h 1503"/>
                  <a:gd name="T16" fmla="*/ 2048 w 2048"/>
                  <a:gd name="T17" fmla="*/ 649 h 1503"/>
                  <a:gd name="T18" fmla="*/ 1911 w 2048"/>
                  <a:gd name="T19" fmla="*/ 341 h 1503"/>
                  <a:gd name="T20" fmla="*/ 461 w 2048"/>
                  <a:gd name="T21" fmla="*/ 341 h 1503"/>
                  <a:gd name="T22" fmla="*/ 1024 w 2048"/>
                  <a:gd name="T23" fmla="*/ 68 h 1503"/>
                  <a:gd name="T24" fmla="*/ 1587 w 2048"/>
                  <a:gd name="T25" fmla="*/ 341 h 1503"/>
                  <a:gd name="T26" fmla="*/ 1673 w 2048"/>
                  <a:gd name="T27" fmla="*/ 376 h 1503"/>
                  <a:gd name="T28" fmla="*/ 1570 w 2048"/>
                  <a:gd name="T29" fmla="*/ 409 h 1503"/>
                  <a:gd name="T30" fmla="*/ 1156 w 2048"/>
                  <a:gd name="T31" fmla="*/ 199 h 1503"/>
                  <a:gd name="T32" fmla="*/ 892 w 2048"/>
                  <a:gd name="T33" fmla="*/ 200 h 1503"/>
                  <a:gd name="T34" fmla="*/ 478 w 2048"/>
                  <a:gd name="T35" fmla="*/ 409 h 1503"/>
                  <a:gd name="T36" fmla="*/ 375 w 2048"/>
                  <a:gd name="T37" fmla="*/ 376 h 1503"/>
                  <a:gd name="T38" fmla="*/ 68 w 2048"/>
                  <a:gd name="T39" fmla="*/ 649 h 1503"/>
                  <a:gd name="T40" fmla="*/ 137 w 2048"/>
                  <a:gd name="T41" fmla="*/ 410 h 1503"/>
                  <a:gd name="T42" fmla="*/ 307 w 2048"/>
                  <a:gd name="T43" fmla="*/ 751 h 1503"/>
                  <a:gd name="T44" fmla="*/ 68 w 2048"/>
                  <a:gd name="T45" fmla="*/ 649 h 1503"/>
                  <a:gd name="T46" fmla="*/ 975 w 2048"/>
                  <a:gd name="T47" fmla="*/ 1431 h 1503"/>
                  <a:gd name="T48" fmla="*/ 414 w 2048"/>
                  <a:gd name="T49" fmla="*/ 978 h 1503"/>
                  <a:gd name="T50" fmla="*/ 375 w 2048"/>
                  <a:gd name="T51" fmla="*/ 478 h 1503"/>
                  <a:gd name="T52" fmla="*/ 945 w 2048"/>
                  <a:gd name="T53" fmla="*/ 243 h 1503"/>
                  <a:gd name="T54" fmla="*/ 1103 w 2048"/>
                  <a:gd name="T55" fmla="*/ 243 h 1503"/>
                  <a:gd name="T56" fmla="*/ 1570 w 2048"/>
                  <a:gd name="T57" fmla="*/ 478 h 1503"/>
                  <a:gd name="T58" fmla="*/ 1673 w 2048"/>
                  <a:gd name="T59" fmla="*/ 751 h 1503"/>
                  <a:gd name="T60" fmla="*/ 1634 w 2048"/>
                  <a:gd name="T61" fmla="*/ 978 h 1503"/>
                  <a:gd name="T62" fmla="*/ 1980 w 2048"/>
                  <a:gd name="T63" fmla="*/ 649 h 1503"/>
                  <a:gd name="T64" fmla="*/ 1741 w 2048"/>
                  <a:gd name="T65" fmla="*/ 751 h 1503"/>
                  <a:gd name="T66" fmla="*/ 1911 w 2048"/>
                  <a:gd name="T67" fmla="*/ 410 h 1503"/>
                  <a:gd name="T68" fmla="*/ 1980 w 2048"/>
                  <a:gd name="T69" fmla="*/ 649 h 1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48" h="1503">
                    <a:moveTo>
                      <a:pt x="1911" y="341"/>
                    </a:moveTo>
                    <a:cubicBezTo>
                      <a:pt x="1735" y="341"/>
                      <a:pt x="1735" y="341"/>
                      <a:pt x="1735" y="341"/>
                    </a:cubicBezTo>
                    <a:cubicBezTo>
                      <a:pt x="1720" y="301"/>
                      <a:pt x="1682" y="273"/>
                      <a:pt x="1638" y="273"/>
                    </a:cubicBezTo>
                    <a:cubicBezTo>
                      <a:pt x="1587" y="273"/>
                      <a:pt x="1587" y="273"/>
                      <a:pt x="1587" y="273"/>
                    </a:cubicBezTo>
                    <a:cubicBezTo>
                      <a:pt x="1460" y="271"/>
                      <a:pt x="1341" y="213"/>
                      <a:pt x="1262" y="113"/>
                    </a:cubicBezTo>
                    <a:cubicBezTo>
                      <a:pt x="1204" y="42"/>
                      <a:pt x="1116" y="0"/>
                      <a:pt x="1024" y="0"/>
                    </a:cubicBezTo>
                    <a:cubicBezTo>
                      <a:pt x="932" y="0"/>
                      <a:pt x="844" y="42"/>
                      <a:pt x="786" y="113"/>
                    </a:cubicBezTo>
                    <a:cubicBezTo>
                      <a:pt x="707" y="213"/>
                      <a:pt x="588" y="271"/>
                      <a:pt x="461" y="273"/>
                    </a:cubicBezTo>
                    <a:cubicBezTo>
                      <a:pt x="410" y="273"/>
                      <a:pt x="410" y="273"/>
                      <a:pt x="410" y="273"/>
                    </a:cubicBezTo>
                    <a:cubicBezTo>
                      <a:pt x="366" y="273"/>
                      <a:pt x="328" y="301"/>
                      <a:pt x="313" y="341"/>
                    </a:cubicBezTo>
                    <a:cubicBezTo>
                      <a:pt x="137" y="341"/>
                      <a:pt x="137" y="341"/>
                      <a:pt x="137" y="341"/>
                    </a:cubicBezTo>
                    <a:cubicBezTo>
                      <a:pt x="61" y="341"/>
                      <a:pt x="0" y="403"/>
                      <a:pt x="0" y="478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0" y="828"/>
                      <a:pt x="161" y="993"/>
                      <a:pt x="356" y="1020"/>
                    </a:cubicBezTo>
                    <a:cubicBezTo>
                      <a:pt x="452" y="1283"/>
                      <a:pt x="689" y="1469"/>
                      <a:pt x="968" y="1499"/>
                    </a:cubicBezTo>
                    <a:cubicBezTo>
                      <a:pt x="1005" y="1503"/>
                      <a:pt x="1043" y="1503"/>
                      <a:pt x="1080" y="1499"/>
                    </a:cubicBezTo>
                    <a:cubicBezTo>
                      <a:pt x="1359" y="1469"/>
                      <a:pt x="1596" y="1283"/>
                      <a:pt x="1692" y="1020"/>
                    </a:cubicBezTo>
                    <a:cubicBezTo>
                      <a:pt x="1887" y="993"/>
                      <a:pt x="2048" y="828"/>
                      <a:pt x="2048" y="649"/>
                    </a:cubicBezTo>
                    <a:cubicBezTo>
                      <a:pt x="2048" y="478"/>
                      <a:pt x="2048" y="478"/>
                      <a:pt x="2048" y="478"/>
                    </a:cubicBezTo>
                    <a:cubicBezTo>
                      <a:pt x="2048" y="403"/>
                      <a:pt x="1987" y="341"/>
                      <a:pt x="1911" y="341"/>
                    </a:cubicBezTo>
                    <a:close/>
                    <a:moveTo>
                      <a:pt x="410" y="341"/>
                    </a:moveTo>
                    <a:cubicBezTo>
                      <a:pt x="461" y="341"/>
                      <a:pt x="461" y="341"/>
                      <a:pt x="461" y="341"/>
                    </a:cubicBezTo>
                    <a:cubicBezTo>
                      <a:pt x="608" y="340"/>
                      <a:pt x="747" y="272"/>
                      <a:pt x="839" y="156"/>
                    </a:cubicBezTo>
                    <a:cubicBezTo>
                      <a:pt x="884" y="101"/>
                      <a:pt x="952" y="68"/>
                      <a:pt x="1024" y="68"/>
                    </a:cubicBezTo>
                    <a:cubicBezTo>
                      <a:pt x="1096" y="68"/>
                      <a:pt x="1164" y="101"/>
                      <a:pt x="1209" y="156"/>
                    </a:cubicBezTo>
                    <a:cubicBezTo>
                      <a:pt x="1301" y="272"/>
                      <a:pt x="1440" y="340"/>
                      <a:pt x="1587" y="341"/>
                    </a:cubicBezTo>
                    <a:cubicBezTo>
                      <a:pt x="1638" y="341"/>
                      <a:pt x="1638" y="341"/>
                      <a:pt x="1638" y="341"/>
                    </a:cubicBezTo>
                    <a:cubicBezTo>
                      <a:pt x="1657" y="341"/>
                      <a:pt x="1673" y="357"/>
                      <a:pt x="1673" y="376"/>
                    </a:cubicBezTo>
                    <a:cubicBezTo>
                      <a:pt x="1673" y="410"/>
                      <a:pt x="1673" y="410"/>
                      <a:pt x="1673" y="410"/>
                    </a:cubicBezTo>
                    <a:cubicBezTo>
                      <a:pt x="1570" y="409"/>
                      <a:pt x="1570" y="409"/>
                      <a:pt x="1570" y="409"/>
                    </a:cubicBezTo>
                    <a:cubicBezTo>
                      <a:pt x="1569" y="409"/>
                      <a:pt x="1569" y="409"/>
                      <a:pt x="1569" y="409"/>
                    </a:cubicBezTo>
                    <a:cubicBezTo>
                      <a:pt x="1407" y="405"/>
                      <a:pt x="1255" y="328"/>
                      <a:pt x="1156" y="199"/>
                    </a:cubicBezTo>
                    <a:cubicBezTo>
                      <a:pt x="1124" y="160"/>
                      <a:pt x="1075" y="137"/>
                      <a:pt x="1024" y="137"/>
                    </a:cubicBezTo>
                    <a:cubicBezTo>
                      <a:pt x="972" y="137"/>
                      <a:pt x="924" y="160"/>
                      <a:pt x="892" y="200"/>
                    </a:cubicBezTo>
                    <a:cubicBezTo>
                      <a:pt x="792" y="328"/>
                      <a:pt x="641" y="405"/>
                      <a:pt x="479" y="409"/>
                    </a:cubicBezTo>
                    <a:cubicBezTo>
                      <a:pt x="478" y="409"/>
                      <a:pt x="478" y="409"/>
                      <a:pt x="478" y="409"/>
                    </a:cubicBezTo>
                    <a:cubicBezTo>
                      <a:pt x="375" y="410"/>
                      <a:pt x="375" y="410"/>
                      <a:pt x="375" y="410"/>
                    </a:cubicBezTo>
                    <a:cubicBezTo>
                      <a:pt x="375" y="376"/>
                      <a:pt x="375" y="376"/>
                      <a:pt x="375" y="376"/>
                    </a:cubicBezTo>
                    <a:cubicBezTo>
                      <a:pt x="375" y="357"/>
                      <a:pt x="391" y="341"/>
                      <a:pt x="410" y="341"/>
                    </a:cubicBezTo>
                    <a:close/>
                    <a:moveTo>
                      <a:pt x="68" y="649"/>
                    </a:moveTo>
                    <a:cubicBezTo>
                      <a:pt x="68" y="478"/>
                      <a:pt x="68" y="478"/>
                      <a:pt x="68" y="478"/>
                    </a:cubicBezTo>
                    <a:cubicBezTo>
                      <a:pt x="68" y="440"/>
                      <a:pt x="99" y="410"/>
                      <a:pt x="137" y="410"/>
                    </a:cubicBezTo>
                    <a:cubicBezTo>
                      <a:pt x="307" y="410"/>
                      <a:pt x="307" y="410"/>
                      <a:pt x="307" y="410"/>
                    </a:cubicBezTo>
                    <a:cubicBezTo>
                      <a:pt x="307" y="751"/>
                      <a:pt x="307" y="751"/>
                      <a:pt x="307" y="751"/>
                    </a:cubicBezTo>
                    <a:cubicBezTo>
                      <a:pt x="307" y="817"/>
                      <a:pt x="316" y="883"/>
                      <a:pt x="333" y="946"/>
                    </a:cubicBezTo>
                    <a:cubicBezTo>
                      <a:pt x="197" y="914"/>
                      <a:pt x="68" y="798"/>
                      <a:pt x="68" y="649"/>
                    </a:cubicBezTo>
                    <a:close/>
                    <a:moveTo>
                      <a:pt x="1073" y="1431"/>
                    </a:moveTo>
                    <a:cubicBezTo>
                      <a:pt x="1041" y="1435"/>
                      <a:pt x="1007" y="1435"/>
                      <a:pt x="975" y="1431"/>
                    </a:cubicBezTo>
                    <a:cubicBezTo>
                      <a:pt x="715" y="1403"/>
                      <a:pt x="496" y="1226"/>
                      <a:pt x="414" y="978"/>
                    </a:cubicBezTo>
                    <a:cubicBezTo>
                      <a:pt x="414" y="978"/>
                      <a:pt x="414" y="978"/>
                      <a:pt x="414" y="978"/>
                    </a:cubicBezTo>
                    <a:cubicBezTo>
                      <a:pt x="389" y="905"/>
                      <a:pt x="376" y="828"/>
                      <a:pt x="375" y="751"/>
                    </a:cubicBezTo>
                    <a:cubicBezTo>
                      <a:pt x="375" y="478"/>
                      <a:pt x="375" y="478"/>
                      <a:pt x="375" y="478"/>
                    </a:cubicBezTo>
                    <a:cubicBezTo>
                      <a:pt x="478" y="478"/>
                      <a:pt x="478" y="478"/>
                      <a:pt x="478" y="478"/>
                    </a:cubicBezTo>
                    <a:cubicBezTo>
                      <a:pt x="661" y="474"/>
                      <a:pt x="833" y="388"/>
                      <a:pt x="945" y="243"/>
                    </a:cubicBezTo>
                    <a:cubicBezTo>
                      <a:pt x="964" y="219"/>
                      <a:pt x="993" y="205"/>
                      <a:pt x="1024" y="205"/>
                    </a:cubicBezTo>
                    <a:cubicBezTo>
                      <a:pt x="1055" y="205"/>
                      <a:pt x="1084" y="219"/>
                      <a:pt x="1103" y="243"/>
                    </a:cubicBezTo>
                    <a:cubicBezTo>
                      <a:pt x="1215" y="387"/>
                      <a:pt x="1387" y="473"/>
                      <a:pt x="1569" y="478"/>
                    </a:cubicBezTo>
                    <a:cubicBezTo>
                      <a:pt x="1570" y="478"/>
                      <a:pt x="1570" y="478"/>
                      <a:pt x="1570" y="478"/>
                    </a:cubicBezTo>
                    <a:cubicBezTo>
                      <a:pt x="1673" y="478"/>
                      <a:pt x="1673" y="478"/>
                      <a:pt x="1673" y="478"/>
                    </a:cubicBezTo>
                    <a:cubicBezTo>
                      <a:pt x="1673" y="751"/>
                      <a:pt x="1673" y="751"/>
                      <a:pt x="1673" y="751"/>
                    </a:cubicBezTo>
                    <a:cubicBezTo>
                      <a:pt x="1672" y="828"/>
                      <a:pt x="1660" y="905"/>
                      <a:pt x="1634" y="978"/>
                    </a:cubicBezTo>
                    <a:cubicBezTo>
                      <a:pt x="1634" y="978"/>
                      <a:pt x="1634" y="978"/>
                      <a:pt x="1634" y="978"/>
                    </a:cubicBezTo>
                    <a:cubicBezTo>
                      <a:pt x="1552" y="1226"/>
                      <a:pt x="1333" y="1403"/>
                      <a:pt x="1073" y="1431"/>
                    </a:cubicBezTo>
                    <a:close/>
                    <a:moveTo>
                      <a:pt x="1980" y="649"/>
                    </a:moveTo>
                    <a:cubicBezTo>
                      <a:pt x="1980" y="798"/>
                      <a:pt x="1851" y="914"/>
                      <a:pt x="1715" y="946"/>
                    </a:cubicBezTo>
                    <a:cubicBezTo>
                      <a:pt x="1732" y="883"/>
                      <a:pt x="1741" y="817"/>
                      <a:pt x="1741" y="751"/>
                    </a:cubicBezTo>
                    <a:cubicBezTo>
                      <a:pt x="1741" y="410"/>
                      <a:pt x="1741" y="410"/>
                      <a:pt x="1741" y="410"/>
                    </a:cubicBezTo>
                    <a:cubicBezTo>
                      <a:pt x="1911" y="410"/>
                      <a:pt x="1911" y="410"/>
                      <a:pt x="1911" y="410"/>
                    </a:cubicBezTo>
                    <a:cubicBezTo>
                      <a:pt x="1949" y="410"/>
                      <a:pt x="1980" y="440"/>
                      <a:pt x="1980" y="478"/>
                    </a:cubicBezTo>
                    <a:lnTo>
                      <a:pt x="1980" y="6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배달의민족 한나는 열한살" panose="020B0600000101010101" pitchFamily="50" charset="-127"/>
                  <a:ea typeface="배달의민족 한나는 열한살" panose="020B0600000101010101" pitchFamily="50" charset="-127"/>
                </a:endParaRPr>
              </a:p>
            </p:txBody>
          </p:sp>
        </p:grpSp>
        <p:pic>
          <p:nvPicPr>
            <p:cNvPr id="8194" name="Picture 2" descr="C:\Users\tkddn\OneDrive\Desktop\7.맛집추천CONPNG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9226" y="1942118"/>
              <a:ext cx="7146129" cy="20629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5" name="Picture 3" descr="C:\Users\tkddn\OneDrive\Desktop\7.맛집추천DAO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161" y="4362939"/>
              <a:ext cx="7146128" cy="1417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직사각형 39"/>
            <p:cNvSpPr/>
            <p:nvPr/>
          </p:nvSpPr>
          <p:spPr>
            <a:xfrm>
              <a:off x="3431704" y="2818313"/>
              <a:ext cx="2520280" cy="31055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59981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9FE5283-B009-4EE3-A9B2-2F7A4D62AD40}"/>
              </a:ext>
            </a:extLst>
          </p:cNvPr>
          <p:cNvSpPr/>
          <p:nvPr/>
        </p:nvSpPr>
        <p:spPr>
          <a:xfrm>
            <a:off x="9141308" y="510551"/>
            <a:ext cx="316762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프로젝트를 마치며</a:t>
            </a: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…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C63B2F05-B9A4-42FA-9DE1-4E4B120E90EB}"/>
              </a:ext>
            </a:extLst>
          </p:cNvPr>
          <p:cNvSpPr/>
          <p:nvPr/>
        </p:nvSpPr>
        <p:spPr>
          <a:xfrm>
            <a:off x="9242908" y="1128599"/>
            <a:ext cx="3167627" cy="53553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A7C2"/>
                </a:solidFill>
                <a:effectLst/>
                <a:uLnTx/>
                <a:uFillTx/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기간 </a:t>
            </a: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51A7C2"/>
                </a:solidFill>
                <a:effectLst/>
                <a:uLnTx/>
                <a:uFillTx/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: 2020.12.17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       ~ 2020.12.27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매일 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8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시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~11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시까지는 고정 </a:t>
            </a:r>
            <a:endParaRPr lang="en-US" altLang="ko-KR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400" dirty="0">
                <a:solidFill>
                  <a:srgbClr val="364F6B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회의</a:t>
            </a:r>
            <a:r>
              <a:rPr lang="en-US" altLang="ko-KR" sz="2400" dirty="0">
                <a:solidFill>
                  <a:srgbClr val="364F6B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400" dirty="0">
                <a:solidFill>
                  <a:srgbClr val="364F6B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그래</a:t>
            </a:r>
            <a:r>
              <a:rPr lang="en-US" altLang="ko-KR" sz="2400" dirty="0">
                <a:solidFill>
                  <a:srgbClr val="364F6B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</a:t>
            </a:r>
            <a:r>
              <a:rPr lang="ko-KR" altLang="en-US" sz="2400" dirty="0">
                <a:solidFill>
                  <a:srgbClr val="364F6B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우린 회의에 미친 조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크리스마스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? </a:t>
            </a:r>
            <a:r>
              <a:rPr lang="ko-KR" altLang="en-US" sz="2000" dirty="0">
                <a:solidFill>
                  <a:srgbClr val="002060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예외는 없다</a:t>
            </a:r>
            <a:r>
              <a:rPr lang="en-US" altLang="ko-KR" sz="2000" dirty="0">
                <a:solidFill>
                  <a:srgbClr val="002060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크리스마스 이브도 물론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12.25 00:00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에 </a:t>
            </a:r>
            <a:endParaRPr lang="en-US" altLang="ko-KR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dirty="0">
                <a:solidFill>
                  <a:srgbClr val="002060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메리크리스마스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를 외쳤고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…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주말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? </a:t>
            </a:r>
            <a:r>
              <a:rPr lang="ko-KR" altLang="en-US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당연</a:t>
            </a:r>
            <a:r>
              <a:rPr lang="en-US" altLang="ko-KR" sz="20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…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51A7C2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1A7C2"/>
              </a:solidFill>
              <a:effectLst/>
              <a:uLnTx/>
              <a:uFillTx/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1A7C2"/>
              </a:solidFill>
              <a:effectLst/>
              <a:uLnTx/>
              <a:uFillTx/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88DF2AE1-D127-4B1D-B543-21C23F8EAAA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66"/>
          <a:stretch/>
        </p:blipFill>
        <p:spPr>
          <a:xfrm>
            <a:off x="245132" y="175840"/>
            <a:ext cx="4267340" cy="211090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xmlns="" id="{9878A87C-1AB3-45F9-B380-E837FFCCCE7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8"/>
          <a:stretch/>
        </p:blipFill>
        <p:spPr>
          <a:xfrm>
            <a:off x="4615814" y="2351591"/>
            <a:ext cx="4308324" cy="2108514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xmlns="" id="{A1BFD4F0-E534-4938-BEB2-FD356842F64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" t="8754" r="1269" b="6568"/>
          <a:stretch/>
        </p:blipFill>
        <p:spPr>
          <a:xfrm>
            <a:off x="224640" y="2363981"/>
            <a:ext cx="4308324" cy="2130038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xmlns="" id="{5910973B-C25D-41A2-A196-60C9197245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62" y="4513433"/>
            <a:ext cx="4327076" cy="2170195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xmlns="" id="{8081D3FF-558E-43E4-AA70-DD23427FD22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35"/>
          <a:stretch/>
        </p:blipFill>
        <p:spPr>
          <a:xfrm>
            <a:off x="201248" y="4571254"/>
            <a:ext cx="4286245" cy="2130038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37F01410-7EFC-4BAD-8F60-3AC93B3A33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51" t="9755" r="1651"/>
          <a:stretch/>
        </p:blipFill>
        <p:spPr>
          <a:xfrm>
            <a:off x="4615814" y="174372"/>
            <a:ext cx="4308324" cy="2108514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xmlns="" id="{500A48E5-A24E-4F2E-A13A-6A2E4F1B30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7767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07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xmlns="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xmlns="" id="{51050D9D-4058-4D45-A51D-AB2BBB5F8A79}"/>
              </a:ext>
            </a:extLst>
          </p:cNvPr>
          <p:cNvCxnSpPr>
            <a:cxnSpLocks/>
          </p:cNvCxnSpPr>
          <p:nvPr/>
        </p:nvCxnSpPr>
        <p:spPr>
          <a:xfrm>
            <a:off x="553886" y="3105259"/>
            <a:ext cx="1112232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xmlns="" id="{61D2AF1F-4132-440F-9D32-9AF207CE1448}"/>
              </a:ext>
            </a:extLst>
          </p:cNvPr>
          <p:cNvCxnSpPr>
            <a:cxnSpLocks/>
          </p:cNvCxnSpPr>
          <p:nvPr/>
        </p:nvCxnSpPr>
        <p:spPr>
          <a:xfrm>
            <a:off x="553886" y="1643144"/>
            <a:ext cx="1112232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9">
            <a:extLst>
              <a:ext uri="{FF2B5EF4-FFF2-40B4-BE49-F238E27FC236}">
                <a16:creationId xmlns:a16="http://schemas.microsoft.com/office/drawing/2014/main" xmlns="" id="{CDC41596-38F4-4DC5-B4E7-CCAF136DA044}"/>
              </a:ext>
            </a:extLst>
          </p:cNvPr>
          <p:cNvCxnSpPr>
            <a:cxnSpLocks/>
          </p:cNvCxnSpPr>
          <p:nvPr/>
        </p:nvCxnSpPr>
        <p:spPr>
          <a:xfrm flipV="1">
            <a:off x="555981" y="4543261"/>
            <a:ext cx="11159269" cy="2411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9CE302AE-28FA-45AF-ACF0-1C3612463A8F}"/>
              </a:ext>
            </a:extLst>
          </p:cNvPr>
          <p:cNvSpPr txBox="1"/>
          <p:nvPr/>
        </p:nvSpPr>
        <p:spPr>
          <a:xfrm>
            <a:off x="1847204" y="370806"/>
            <a:ext cx="997540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박은지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: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처음 제대로 된 기획을 하면서 프로젝트를 했는데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마음이 잘 맞는 팀원들과 함께해서 더 인상깊었던 프로젝트였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실력이 많이 부족하다고 느꼈는데 다같이 앞에서 끌어주고 뒤에서 밀어주며 서로 </a:t>
            </a:r>
            <a:endParaRPr lang="en-US" altLang="ko-KR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도움을 많이 주고 받은 거 같아서 감사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</a:t>
            </a: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그리고 생각했던 기능을 구현했다는 것에 대해서 성취감을 느낄 수 있던 좋은 기회였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! </a:t>
            </a:r>
            <a:endParaRPr lang="ko-KR" altLang="en-US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cxnSp>
        <p:nvCxnSpPr>
          <p:cNvPr id="27" name="Straight Connector 79">
            <a:extLst>
              <a:ext uri="{FF2B5EF4-FFF2-40B4-BE49-F238E27FC236}">
                <a16:creationId xmlns:a16="http://schemas.microsoft.com/office/drawing/2014/main" xmlns="" id="{48483076-729C-4AC7-9DD9-E029E2D2FFC2}"/>
              </a:ext>
            </a:extLst>
          </p:cNvPr>
          <p:cNvCxnSpPr>
            <a:cxnSpLocks/>
          </p:cNvCxnSpPr>
          <p:nvPr/>
        </p:nvCxnSpPr>
        <p:spPr>
          <a:xfrm>
            <a:off x="555981" y="6029488"/>
            <a:ext cx="11185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그림 9">
            <a:extLst>
              <a:ext uri="{FF2B5EF4-FFF2-40B4-BE49-F238E27FC236}">
                <a16:creationId xmlns:a16="http://schemas.microsoft.com/office/drawing/2014/main" xmlns="" id="{F25305E2-F2ED-45DD-9CCA-3A6A88993A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95" t="55027" r="11296" b="3646"/>
          <a:stretch/>
        </p:blipFill>
        <p:spPr>
          <a:xfrm>
            <a:off x="369392" y="4661737"/>
            <a:ext cx="1287236" cy="1332000"/>
          </a:xfrm>
          <a:prstGeom prst="ellipse">
            <a:avLst/>
          </a:prstGeom>
          <a:ln w="3175" cap="rnd">
            <a:solidFill>
              <a:srgbClr val="DCECF6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xmlns="" id="{009711D5-6401-495E-B3C5-A603029FA5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59359" r="64146" b="-560"/>
          <a:stretch/>
        </p:blipFill>
        <p:spPr>
          <a:xfrm>
            <a:off x="369392" y="245438"/>
            <a:ext cx="1309731" cy="1332000"/>
          </a:xfrm>
          <a:prstGeom prst="ellipse">
            <a:avLst/>
          </a:prstGeom>
          <a:ln w="3175" cap="rnd">
            <a:solidFill>
              <a:srgbClr val="DCECF6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xmlns="" id="{29A20A7A-2D46-41D8-AB3E-6590CACC43E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t="10359" r="63316" b="48314"/>
          <a:stretch/>
        </p:blipFill>
        <p:spPr>
          <a:xfrm>
            <a:off x="369393" y="1717538"/>
            <a:ext cx="1322465" cy="1332000"/>
          </a:xfrm>
          <a:prstGeom prst="ellipse">
            <a:avLst/>
          </a:prstGeom>
          <a:ln w="3175" cap="rnd">
            <a:solidFill>
              <a:srgbClr val="DCECF6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xmlns="" id="{DCFA5301-901C-47A9-BEF3-DE22214C0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56" t="14792" r="13485" b="43788"/>
          <a:stretch/>
        </p:blipFill>
        <p:spPr>
          <a:xfrm>
            <a:off x="369392" y="3189638"/>
            <a:ext cx="1315453" cy="1332000"/>
          </a:xfrm>
          <a:prstGeom prst="ellipse">
            <a:avLst/>
          </a:prstGeom>
          <a:ln w="3175" cap="rnd">
            <a:solidFill>
              <a:srgbClr val="DCECF6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005223E-542B-49CE-9703-41549DB04319}"/>
              </a:ext>
            </a:extLst>
          </p:cNvPr>
          <p:cNvSpPr txBox="1"/>
          <p:nvPr/>
        </p:nvSpPr>
        <p:spPr>
          <a:xfrm>
            <a:off x="1847204" y="1756876"/>
            <a:ext cx="997540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 err="1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손예인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: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이번 프로젝트는 지난 기간동안 배웠던 자바와 데이터베이스로 프로그램을 구현할 수 </a:t>
            </a:r>
            <a:endParaRPr lang="en-US" altLang="ko-KR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있었던 좋은 기회였고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,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하나부터 열까지 배우지 않은 부분이 없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!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그리고 바랬던 기능구현들을 위해서는 더 열심히 공부해야겠다는 다짐을 크게 할 수 있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 </a:t>
            </a: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그리고 무엇보다 끝까지 마무리할 수 있도록 최선을 다해 함께해주신 </a:t>
            </a:r>
            <a:r>
              <a:rPr lang="ko-KR" altLang="en-US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팀원분들께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진심으로 감사드립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!</a:t>
            </a:r>
            <a:endParaRPr lang="ko-KR" altLang="en-US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D59CFE1A-C4D1-46DC-AF4B-672D60232EC4}"/>
              </a:ext>
            </a:extLst>
          </p:cNvPr>
          <p:cNvSpPr txBox="1"/>
          <p:nvPr/>
        </p:nvSpPr>
        <p:spPr>
          <a:xfrm>
            <a:off x="1847204" y="3397470"/>
            <a:ext cx="99754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임상우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: </a:t>
            </a:r>
            <a:r>
              <a:rPr lang="en-US" altLang="ko-KR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erd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와 테이블을 짜는 것이 생각보다 정말 어렵고 </a:t>
            </a:r>
            <a:r>
              <a:rPr lang="ko-KR" altLang="en-US" dirty="0" err="1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오래걸려서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처음에 구현하고자 했던 기능들을 </a:t>
            </a:r>
            <a:endParaRPr lang="en-US" altLang="ko-KR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많이 구현해보지 못해서 아쉬웠지만 팀원들과 서로 많은 의견도 주고받고 아는 것과 모르는 것도 </a:t>
            </a:r>
            <a:endParaRPr lang="en-US" altLang="ko-KR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교환하면서 더 발전할 수 있는 시간이 되었던 것 같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 </a:t>
            </a:r>
            <a:endParaRPr lang="ko-KR" altLang="en-US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579AB7AE-2E2F-4AD7-BCD6-1B339407FFD5}"/>
              </a:ext>
            </a:extLst>
          </p:cNvPr>
          <p:cNvSpPr txBox="1"/>
          <p:nvPr/>
        </p:nvSpPr>
        <p:spPr>
          <a:xfrm>
            <a:off x="1847204" y="4727572"/>
            <a:ext cx="99754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51A7C2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장현아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 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: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프로젝트 진행하면서 좋았던 점은 더디지만 조금씩 나아가는 제 자신을 발견했던 것이고</a:t>
            </a:r>
          </a:p>
          <a:p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진행하는 내내 팀원들끼리 서로 다독이며 프로젝트를 진행하는 모습에 이 친구들과 같은 팀이 되어 다행이라는 생각을 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서로의 실력과 생각들이 다르지만 서로 맞춰가려고 노력하는 모습이 프로젝트를 진행하는 큰 이유 중 하나일 것이라고 생각을 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. </a:t>
            </a:r>
            <a:r>
              <a:rPr lang="ko-KR" altLang="en-US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프로젝트 기간 동안 정말 감사했습니다</a:t>
            </a:r>
            <a:r>
              <a:rPr lang="en-US" altLang="ko-KR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!</a:t>
            </a:r>
          </a:p>
          <a:p>
            <a:endParaRPr lang="ko-KR" altLang="en-US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pic>
        <p:nvPicPr>
          <p:cNvPr id="25" name="그림 24">
            <a:extLst>
              <a:ext uri="{FF2B5EF4-FFF2-40B4-BE49-F238E27FC236}">
                <a16:creationId xmlns:a16="http://schemas.microsoft.com/office/drawing/2014/main" xmlns="" id="{6681D55D-EE33-4024-8C5A-26361061FC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410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88B4DA4B-1E5C-415D-B46C-4B3A0C89A5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509" y="0"/>
            <a:ext cx="6820491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BDEDF01-AE76-4EB8-8E62-578FDE3EE3B7}"/>
              </a:ext>
            </a:extLst>
          </p:cNvPr>
          <p:cNvSpPr txBox="1"/>
          <p:nvPr/>
        </p:nvSpPr>
        <p:spPr>
          <a:xfrm>
            <a:off x="187570" y="2213282"/>
            <a:ext cx="4984647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80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감사합니다</a:t>
            </a:r>
            <a:r>
              <a:rPr lang="en-US" altLang="ko-KR" sz="80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!</a:t>
            </a:r>
          </a:p>
          <a:p>
            <a:pPr algn="r"/>
            <a:r>
              <a:rPr lang="en-US" altLang="ko-KR" sz="7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Thank you!</a:t>
            </a:r>
            <a:endParaRPr lang="ko-KR" altLang="en-US" sz="7200" dirty="0"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08564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714A87C3-3EFB-4722-BF0D-17138DEB6B2B}"/>
              </a:ext>
            </a:extLst>
          </p:cNvPr>
          <p:cNvGrpSpPr/>
          <p:nvPr/>
        </p:nvGrpSpPr>
        <p:grpSpPr>
          <a:xfrm>
            <a:off x="0" y="4933985"/>
            <a:ext cx="12192000" cy="1924015"/>
            <a:chOff x="0" y="4948862"/>
            <a:chExt cx="12192000" cy="1924015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F9C80C8E-5A49-482B-8FB1-2FEACFCA5ACA}"/>
                </a:ext>
              </a:extLst>
            </p:cNvPr>
            <p:cNvSpPr/>
            <p:nvPr/>
          </p:nvSpPr>
          <p:spPr>
            <a:xfrm>
              <a:off x="0" y="5578730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73714BC-1D6D-47E8-BDBC-A4EE1D7C9B24}"/>
              </a:ext>
            </a:extLst>
          </p:cNvPr>
          <p:cNvSpPr/>
          <p:nvPr/>
        </p:nvSpPr>
        <p:spPr>
          <a:xfrm>
            <a:off x="212712" y="179005"/>
            <a:ext cx="343307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회원가입 </a:t>
            </a:r>
            <a:r>
              <a:rPr lang="en-US" altLang="ko-KR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-</a:t>
            </a:r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유효성검사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xmlns="" id="{1E3EDF21-4023-4082-AEC1-0A0B28FB5D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xmlns="" id="{CBC7D6C5-5542-445D-A54E-22091D89B3C8}"/>
              </a:ext>
            </a:extLst>
          </p:cNvPr>
          <p:cNvGrpSpPr/>
          <p:nvPr/>
        </p:nvGrpSpPr>
        <p:grpSpPr>
          <a:xfrm>
            <a:off x="163085" y="730853"/>
            <a:ext cx="9930825" cy="5916897"/>
            <a:chOff x="212711" y="892092"/>
            <a:chExt cx="8860871" cy="5712989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xmlns="" id="{B817981B-DE46-4498-87FC-6832E8511A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522" t="41878" r="67705" b="45162"/>
            <a:stretch/>
          </p:blipFill>
          <p:spPr>
            <a:xfrm>
              <a:off x="212711" y="892092"/>
              <a:ext cx="8860871" cy="2554392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:a16="http://schemas.microsoft.com/office/drawing/2014/main" xmlns="" id="{09CE3964-0194-488A-9C2F-741B167F28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522" t="79020" r="67705" b="4222"/>
            <a:stretch/>
          </p:blipFill>
          <p:spPr>
            <a:xfrm>
              <a:off x="212711" y="3302082"/>
              <a:ext cx="8860871" cy="3302999"/>
            </a:xfrm>
            <a:prstGeom prst="rect">
              <a:avLst/>
            </a:prstGeom>
          </p:spPr>
        </p:pic>
      </p:grp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29D77A4F-50DF-4046-AB66-BBBF2825C4B4}"/>
              </a:ext>
            </a:extLst>
          </p:cNvPr>
          <p:cNvSpPr/>
          <p:nvPr/>
        </p:nvSpPr>
        <p:spPr>
          <a:xfrm>
            <a:off x="594653" y="1322898"/>
            <a:ext cx="2543907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F6A6C2DB-F34C-467F-9563-340D93DA28E6}"/>
              </a:ext>
            </a:extLst>
          </p:cNvPr>
          <p:cNvSpPr/>
          <p:nvPr/>
        </p:nvSpPr>
        <p:spPr>
          <a:xfrm>
            <a:off x="619195" y="1822972"/>
            <a:ext cx="4263048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F8B441DC-E97C-4B28-A458-5BD62D2D7E4A}"/>
              </a:ext>
            </a:extLst>
          </p:cNvPr>
          <p:cNvSpPr/>
          <p:nvPr/>
        </p:nvSpPr>
        <p:spPr>
          <a:xfrm>
            <a:off x="594652" y="3890122"/>
            <a:ext cx="2543907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47C3005C-6457-48A3-8601-B9B3A48E10FF}"/>
              </a:ext>
            </a:extLst>
          </p:cNvPr>
          <p:cNvSpPr/>
          <p:nvPr/>
        </p:nvSpPr>
        <p:spPr>
          <a:xfrm>
            <a:off x="644300" y="4406534"/>
            <a:ext cx="5604100" cy="1805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01914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714A87C3-3EFB-4722-BF0D-17138DEB6B2B}"/>
              </a:ext>
            </a:extLst>
          </p:cNvPr>
          <p:cNvGrpSpPr/>
          <p:nvPr/>
        </p:nvGrpSpPr>
        <p:grpSpPr>
          <a:xfrm>
            <a:off x="0" y="4933985"/>
            <a:ext cx="12192000" cy="1924015"/>
            <a:chOff x="0" y="4948862"/>
            <a:chExt cx="12192000" cy="1924015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F9C80C8E-5A49-482B-8FB1-2FEACFCA5ACA}"/>
                </a:ext>
              </a:extLst>
            </p:cNvPr>
            <p:cNvSpPr/>
            <p:nvPr/>
          </p:nvSpPr>
          <p:spPr>
            <a:xfrm>
              <a:off x="0" y="5578730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73714BC-1D6D-47E8-BDBC-A4EE1D7C9B24}"/>
              </a:ext>
            </a:extLst>
          </p:cNvPr>
          <p:cNvSpPr/>
          <p:nvPr/>
        </p:nvSpPr>
        <p:spPr>
          <a:xfrm>
            <a:off x="212712" y="179005"/>
            <a:ext cx="343307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회원가입 </a:t>
            </a:r>
            <a:r>
              <a:rPr lang="en-US" altLang="ko-KR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-</a:t>
            </a:r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유효성검사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xmlns="" id="{1E3EDF21-4023-4082-AEC1-0A0B28FB5D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xmlns="" id="{1EF2C925-7951-4101-BDED-BCE8EC4F4F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19" t="54496" r="70742" b="20387"/>
          <a:stretch/>
        </p:blipFill>
        <p:spPr>
          <a:xfrm>
            <a:off x="201999" y="801781"/>
            <a:ext cx="9927422" cy="5789665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27E9680B-0171-44CB-82C7-29354481A596}"/>
              </a:ext>
            </a:extLst>
          </p:cNvPr>
          <p:cNvSpPr/>
          <p:nvPr/>
        </p:nvSpPr>
        <p:spPr>
          <a:xfrm>
            <a:off x="717648" y="2016627"/>
            <a:ext cx="4829712" cy="155715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44693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714A87C3-3EFB-4722-BF0D-17138DEB6B2B}"/>
              </a:ext>
            </a:extLst>
          </p:cNvPr>
          <p:cNvGrpSpPr/>
          <p:nvPr/>
        </p:nvGrpSpPr>
        <p:grpSpPr>
          <a:xfrm>
            <a:off x="0" y="4933985"/>
            <a:ext cx="12192000" cy="1924015"/>
            <a:chOff x="0" y="4948862"/>
            <a:chExt cx="12192000" cy="1924015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F9C80C8E-5A49-482B-8FB1-2FEACFCA5ACA}"/>
                </a:ext>
              </a:extLst>
            </p:cNvPr>
            <p:cNvSpPr/>
            <p:nvPr/>
          </p:nvSpPr>
          <p:spPr>
            <a:xfrm>
              <a:off x="0" y="5578730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73714BC-1D6D-47E8-BDBC-A4EE1D7C9B24}"/>
              </a:ext>
            </a:extLst>
          </p:cNvPr>
          <p:cNvSpPr/>
          <p:nvPr/>
        </p:nvSpPr>
        <p:spPr>
          <a:xfrm>
            <a:off x="212711" y="179005"/>
            <a:ext cx="540987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3200" dirty="0"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결제완료창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xmlns="" id="{624113C0-0488-49AC-BA66-4341274644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84" t="26792" r="83451" b="60374"/>
          <a:stretch/>
        </p:blipFill>
        <p:spPr>
          <a:xfrm>
            <a:off x="127367" y="850795"/>
            <a:ext cx="6084969" cy="3578619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8E5FC278-7A02-4796-94A6-DBDA2502FB5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47" t="45950" r="76991" b="35829"/>
          <a:stretch/>
        </p:blipFill>
        <p:spPr>
          <a:xfrm>
            <a:off x="5461879" y="2826016"/>
            <a:ext cx="6317375" cy="3565489"/>
          </a:xfrm>
          <a:prstGeom prst="rect">
            <a:avLst/>
          </a:prstGeom>
          <a:ln w="38100">
            <a:solidFill>
              <a:srgbClr val="364F6B"/>
            </a:solidFill>
          </a:ln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xmlns="" id="{1E3EDF21-4023-4082-AEC1-0A0B28FB5D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70AE25E2-596A-462E-BEF2-543E35D6447F}"/>
              </a:ext>
            </a:extLst>
          </p:cNvPr>
          <p:cNvSpPr/>
          <p:nvPr/>
        </p:nvSpPr>
        <p:spPr>
          <a:xfrm>
            <a:off x="5845382" y="2982015"/>
            <a:ext cx="5221686" cy="20424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A3BB8CC-C7CD-4E17-B9F2-3CEFD29B3620}"/>
              </a:ext>
            </a:extLst>
          </p:cNvPr>
          <p:cNvSpPr txBox="1"/>
          <p:nvPr/>
        </p:nvSpPr>
        <p:spPr>
          <a:xfrm>
            <a:off x="9885405" y="2249472"/>
            <a:ext cx="28379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rgbClr val="2E75B6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Class View </a:t>
            </a:r>
            <a:endParaRPr lang="ko-KR" altLang="en-US" sz="2800" dirty="0">
              <a:solidFill>
                <a:srgbClr val="2E75B6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AE02A87-B6A5-4628-8E53-55AC1336CD2C}"/>
              </a:ext>
            </a:extLst>
          </p:cNvPr>
          <p:cNvSpPr txBox="1"/>
          <p:nvPr/>
        </p:nvSpPr>
        <p:spPr>
          <a:xfrm>
            <a:off x="37267" y="4481644"/>
            <a:ext cx="3373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rgbClr val="2E75B6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</a:rPr>
              <a:t>Class Controller</a:t>
            </a:r>
            <a:endParaRPr lang="ko-KR" altLang="en-US" sz="2800" dirty="0">
              <a:solidFill>
                <a:srgbClr val="2E75B6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23681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571" y="956712"/>
            <a:ext cx="8324850" cy="577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xmlns="" id="{04BF968B-AE4A-4FE5-940A-5462206B9E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A06A9CF-3AB3-4E3E-9A9D-F1BF7D37EB09}"/>
              </a:ext>
            </a:extLst>
          </p:cNvPr>
          <p:cNvSpPr txBox="1"/>
          <p:nvPr/>
        </p:nvSpPr>
        <p:spPr>
          <a:xfrm>
            <a:off x="157482" y="81615"/>
            <a:ext cx="4099558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DAO – </a:t>
            </a:r>
            <a:r>
              <a:rPr lang="ko-KR" alt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로그인</a:t>
            </a:r>
            <a:endParaRPr lang="en-US" sz="3600" dirty="0">
              <a:solidFill>
                <a:srgbClr val="193C47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362200" y="2200657"/>
            <a:ext cx="6370320" cy="839723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2014372" y="3188717"/>
            <a:ext cx="5232248" cy="1886203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4535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5844" y="974725"/>
            <a:ext cx="7392035" cy="564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A06A9CF-3AB3-4E3E-9A9D-F1BF7D37EB09}"/>
              </a:ext>
            </a:extLst>
          </p:cNvPr>
          <p:cNvSpPr txBox="1"/>
          <p:nvPr/>
        </p:nvSpPr>
        <p:spPr>
          <a:xfrm>
            <a:off x="157481" y="81615"/>
            <a:ext cx="808369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DAO – </a:t>
            </a:r>
            <a:r>
              <a:rPr lang="ko-KR" altLang="en-US" sz="3600" dirty="0" err="1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마이페이지</a:t>
            </a:r>
            <a:r>
              <a:rPr lang="en-US" altLang="ko-KR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(</a:t>
            </a:r>
            <a:r>
              <a:rPr lang="ko-KR" alt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개인 정보조회</a:t>
            </a:r>
            <a:r>
              <a:rPr lang="en-US" altLang="ko-KR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)</a:t>
            </a:r>
            <a:endParaRPr lang="en-US" sz="3600" dirty="0">
              <a:solidFill>
                <a:srgbClr val="193C47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3011528" y="1895339"/>
            <a:ext cx="6345123" cy="887866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3011528" y="2889884"/>
            <a:ext cx="6345123" cy="2281555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04BF968B-AE4A-4FE5-940A-5462206B9E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378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15u560\Desktop\12월 프로젝트\로고, ppt\개인 코드\DAO-4 주문내역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286" y="693198"/>
            <a:ext cx="8111173" cy="598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04BF968B-AE4A-4FE5-940A-5462206B9E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A06A9CF-3AB3-4E3E-9A9D-F1BF7D37EB09}"/>
              </a:ext>
            </a:extLst>
          </p:cNvPr>
          <p:cNvSpPr txBox="1"/>
          <p:nvPr/>
        </p:nvSpPr>
        <p:spPr>
          <a:xfrm>
            <a:off x="157481" y="81615"/>
            <a:ext cx="951895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DAO – </a:t>
            </a:r>
            <a:r>
              <a:rPr lang="ko-KR" altLang="en-US" sz="3600" dirty="0" err="1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마이페이지</a:t>
            </a:r>
            <a:r>
              <a:rPr lang="en-US" altLang="ko-KR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(</a:t>
            </a:r>
            <a:r>
              <a:rPr lang="ko-KR" alt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주문 내역 조회</a:t>
            </a:r>
            <a:r>
              <a:rPr lang="en-US" altLang="ko-KR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)</a:t>
            </a:r>
            <a:endParaRPr lang="en-US" sz="3600" dirty="0">
              <a:solidFill>
                <a:srgbClr val="193C47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877312" y="1617547"/>
            <a:ext cx="6799123" cy="924486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2877311" y="2645664"/>
            <a:ext cx="6799123" cy="2493264"/>
          </a:xfrm>
          <a:prstGeom prst="rect">
            <a:avLst/>
          </a:prstGeom>
          <a:noFill/>
          <a:ln w="57150">
            <a:solidFill>
              <a:srgbClr val="2F528F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57107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xmlns="" id="{04BF968B-AE4A-4FE5-940A-5462206B9E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725" y="5685595"/>
            <a:ext cx="1097189" cy="10484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A06A9CF-3AB3-4E3E-9A9D-F1BF7D37EB09}"/>
              </a:ext>
            </a:extLst>
          </p:cNvPr>
          <p:cNvSpPr txBox="1"/>
          <p:nvPr/>
        </p:nvSpPr>
        <p:spPr>
          <a:xfrm>
            <a:off x="157481" y="81615"/>
            <a:ext cx="973887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Controller – </a:t>
            </a:r>
            <a:r>
              <a:rPr lang="ko-KR" altLang="en-US" sz="3600" dirty="0">
                <a:solidFill>
                  <a:srgbClr val="193C47"/>
                </a:solidFill>
                <a:latin typeface="배달의민족 한나는 열한살" panose="020B0600000101010101" pitchFamily="50" charset="-127"/>
                <a:ea typeface="배달의민족 한나는 열한살" panose="020B0600000101010101" pitchFamily="50" charset="-127"/>
                <a:cs typeface="Segoe UI" panose="020B0502040204020203" pitchFamily="34" charset="0"/>
              </a:rPr>
              <a:t>로그인</a:t>
            </a:r>
            <a:endParaRPr lang="en-US" sz="3600" dirty="0">
              <a:solidFill>
                <a:srgbClr val="193C47"/>
              </a:solidFill>
              <a:latin typeface="배달의민족 한나는 열한살" panose="020B0600000101010101" pitchFamily="50" charset="-127"/>
              <a:ea typeface="배달의민족 한나는 열한살" panose="020B0600000101010101" pitchFamily="50" charset="-127"/>
              <a:cs typeface="Segoe UI" panose="020B0502040204020203" pitchFamily="34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28310" y="880324"/>
            <a:ext cx="8931005" cy="5314120"/>
            <a:chOff x="1615289" y="852722"/>
            <a:chExt cx="9085367" cy="5314120"/>
          </a:xfrm>
        </p:grpSpPr>
        <p:pic>
          <p:nvPicPr>
            <p:cNvPr id="21507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5289" y="852722"/>
              <a:ext cx="8956196" cy="5314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직사각형 4"/>
            <p:cNvSpPr/>
            <p:nvPr/>
          </p:nvSpPr>
          <p:spPr>
            <a:xfrm>
              <a:off x="2491233" y="1973147"/>
              <a:ext cx="4122928" cy="891973"/>
            </a:xfrm>
            <a:prstGeom prst="rect">
              <a:avLst/>
            </a:prstGeom>
            <a:noFill/>
            <a:ln w="38100">
              <a:solidFill>
                <a:schemeClr val="accent6">
                  <a:lumMod val="60000"/>
                  <a:lumOff val="40000"/>
                  <a:alpha val="50196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2692399" y="3361718"/>
              <a:ext cx="8008257" cy="265402"/>
            </a:xfrm>
            <a:prstGeom prst="rect">
              <a:avLst/>
            </a:prstGeom>
            <a:noFill/>
            <a:ln w="38100">
              <a:solidFill>
                <a:schemeClr val="accent6">
                  <a:lumMod val="60000"/>
                  <a:lumOff val="40000"/>
                  <a:alpha val="50196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3032325" y="3823996"/>
              <a:ext cx="7163671" cy="991844"/>
            </a:xfrm>
            <a:prstGeom prst="rect">
              <a:avLst/>
            </a:prstGeom>
            <a:noFill/>
            <a:ln w="38100">
              <a:solidFill>
                <a:schemeClr val="accent4">
                  <a:lumMod val="60000"/>
                  <a:lumOff val="40000"/>
                  <a:alpha val="50196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8" name="Picture 2" descr="C:\Users\15u560\Desktop\12월 프로젝트\로고, ppt\개인 코드\로그인 성공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8123" y="937263"/>
            <a:ext cx="2940791" cy="2460392"/>
          </a:xfrm>
          <a:prstGeom prst="rect">
            <a:avLst/>
          </a:prstGeom>
          <a:noFill/>
          <a:ln w="38100">
            <a:solidFill>
              <a:schemeClr val="accent6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Users\15u560\Desktop\12월 프로젝트\로고, ppt\개인 코드\로그인 실패 - 비번오류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8123" y="3537384"/>
            <a:ext cx="2940791" cy="2187009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6376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k8YQCQrgOjvDzQSPsj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Ww.4FE5N0.lqUzvQv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L2UaZNu4DTUacIyweUxg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3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</a:theme>
</file>

<file path=ppt/theme/theme4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1819</ep:Words>
  <ep:PresentationFormat>사용자 지정</ep:PresentationFormat>
  <ep:Paragraphs>301</ep:Paragraphs>
  <ep:Slides>29</ep:Slides>
  <ep:Notes>34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3</vt:i4>
      </vt:variant>
      <vt:variant>
        <vt:lpstr>슬라이드 제목</vt:lpstr>
      </vt:variant>
      <vt:variant>
        <vt:i4>29</vt:i4>
      </vt:variant>
    </vt:vector>
  </ep:HeadingPairs>
  <ep:TitlesOfParts>
    <vt:vector size="32" baseType="lpstr">
      <vt:lpstr>Office Theme</vt:lpstr>
      <vt:lpstr>1_Office Theme</vt:lpstr>
      <vt:lpstr>2_Office Theme</vt:lpstr>
      <vt:lpstr>PowerPoint 프레젠테이션</vt:lpstr>
      <vt:lpstr>PowerPoint 프레젠테이션</vt:lpstr>
      <vt:lpstr>PowerPoint 프레젠테이션</vt:lpstr>
      <vt:lpstr>PowerPoint 프레젠테이션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  <vt:lpstr>슬라이드 13</vt:lpstr>
      <vt:lpstr>슬라이드 14</vt:lpstr>
      <vt:lpstr>슬라이드 15</vt:lpstr>
      <vt:lpstr>슬라이드 16</vt:lpstr>
      <vt:lpstr>슬라이드 17</vt:lpstr>
      <vt:lpstr>슬라이드 18</vt:lpstr>
      <vt:lpstr>슬라이드 19</vt:lpstr>
      <vt:lpstr>슬라이드 20</vt:lpstr>
      <vt:lpstr>슬라이드 21</vt:lpstr>
      <vt:lpstr>슬라이드 22</vt:lpstr>
      <vt:lpstr>슬라이드 23</vt:lpstr>
      <vt:lpstr>슬라이드 24</vt:lpstr>
      <vt:lpstr>슬라이드 25</vt:lpstr>
      <vt:lpstr>슬라이드 26</vt:lpstr>
      <vt:lpstr>슬라이드 27</vt:lpstr>
      <vt:lpstr>슬라이드 28</vt:lpstr>
      <vt:lpstr>슬라이드 29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07-22T06:53:11.000</dcterms:created>
  <dc:creator>it 24slides5</dc:creator>
  <cp:lastModifiedBy>eunji</cp:lastModifiedBy>
  <dcterms:modified xsi:type="dcterms:W3CDTF">2021-03-15T06:20:14.521</dcterms:modified>
  <cp:revision>124</cp:revision>
  <dc:title>PowerPoint Presentation</dc:title>
  <cp:version>1000.0000.01</cp:version>
</cp:coreProperties>
</file>